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sldIdLst>
    <p:sldId id="258" r:id="rId2"/>
    <p:sldId id="260" r:id="rId3"/>
    <p:sldId id="265" r:id="rId4"/>
  </p:sldIdLst>
  <p:sldSz cx="10058400" cy="7772400"/>
  <p:notesSz cx="6858000" cy="9144000"/>
  <p:custDataLst>
    <p:tags r:id="rId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696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1"/>
    <p:restoredTop sz="96327"/>
  </p:normalViewPr>
  <p:slideViewPr>
    <p:cSldViewPr snapToGrid="0">
      <p:cViewPr varScale="1">
        <p:scale>
          <a:sx n="104" d="100"/>
          <a:sy n="104" d="100"/>
        </p:scale>
        <p:origin x="608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4380" y="1272011"/>
            <a:ext cx="8549640" cy="2705947"/>
          </a:xfrm>
        </p:spPr>
        <p:txBody>
          <a:bodyPr anchor="b"/>
          <a:lstStyle>
            <a:lvl1pPr algn="ctr"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57300" y="4082310"/>
            <a:ext cx="7543800" cy="1876530"/>
          </a:xfrm>
        </p:spPr>
        <p:txBody>
          <a:bodyPr/>
          <a:lstStyle>
            <a:lvl1pPr marL="0" indent="0" algn="ctr">
              <a:buNone/>
              <a:defRPr sz="2640"/>
            </a:lvl1pPr>
            <a:lvl2pPr marL="502920" indent="0" algn="ctr">
              <a:buNone/>
              <a:defRPr sz="2200"/>
            </a:lvl2pPr>
            <a:lvl3pPr marL="1005840" indent="0" algn="ctr">
              <a:buNone/>
              <a:defRPr sz="1980"/>
            </a:lvl3pPr>
            <a:lvl4pPr marL="1508760" indent="0" algn="ctr">
              <a:buNone/>
              <a:defRPr sz="1760"/>
            </a:lvl4pPr>
            <a:lvl5pPr marL="2011680" indent="0" algn="ctr">
              <a:buNone/>
              <a:defRPr sz="1760"/>
            </a:lvl5pPr>
            <a:lvl6pPr marL="2514600" indent="0" algn="ctr">
              <a:buNone/>
              <a:defRPr sz="1760"/>
            </a:lvl6pPr>
            <a:lvl7pPr marL="3017520" indent="0" algn="ctr">
              <a:buNone/>
              <a:defRPr sz="1760"/>
            </a:lvl7pPr>
            <a:lvl8pPr marL="3520440" indent="0" algn="ctr">
              <a:buNone/>
              <a:defRPr sz="1760"/>
            </a:lvl8pPr>
            <a:lvl9pPr marL="4023360" indent="0" algn="ctr">
              <a:buNone/>
              <a:defRPr sz="176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824ECE-465F-6440-BF5E-40059E087516}" type="datetimeFigureOut">
              <a:rPr lang="en-US"/>
              <a:t>11/1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DDC04-7D39-9E44-8180-04F219DAF0B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8383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824ECE-465F-6440-BF5E-40059E087516}" type="datetimeFigureOut">
              <a:rPr lang="en-US"/>
              <a:t>11/1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DDC04-7D39-9E44-8180-04F219DAF0B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4689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98043" y="413808"/>
            <a:ext cx="2168843" cy="6586750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1515" y="413808"/>
            <a:ext cx="6380798" cy="6586750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824ECE-465F-6440-BF5E-40059E087516}" type="datetimeFigureOut">
              <a:rPr lang="en-US"/>
              <a:t>11/1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DDC04-7D39-9E44-8180-04F219DAF0B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0411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824ECE-465F-6440-BF5E-40059E087516}" type="datetimeFigureOut">
              <a:rPr lang="en-US"/>
              <a:t>11/1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DDC04-7D39-9E44-8180-04F219DAF0B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05601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277" y="1937705"/>
            <a:ext cx="8675370" cy="3233102"/>
          </a:xfrm>
        </p:spPr>
        <p:txBody>
          <a:bodyPr anchor="b"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277" y="5201393"/>
            <a:ext cx="8675370" cy="1700212"/>
          </a:xfrm>
        </p:spPr>
        <p:txBody>
          <a:bodyPr/>
          <a:lstStyle>
            <a:lvl1pPr marL="0" indent="0">
              <a:buNone/>
              <a:defRPr sz="2640">
                <a:solidFill>
                  <a:schemeClr val="tx1"/>
                </a:solidFill>
              </a:defRPr>
            </a:lvl1pPr>
            <a:lvl2pPr marL="50292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2pPr>
            <a:lvl3pPr marL="1005840" indent="0">
              <a:buNone/>
              <a:defRPr sz="1980">
                <a:solidFill>
                  <a:schemeClr val="tx1">
                    <a:tint val="75000"/>
                  </a:schemeClr>
                </a:solidFill>
              </a:defRPr>
            </a:lvl3pPr>
            <a:lvl4pPr marL="150876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4pPr>
            <a:lvl5pPr marL="201168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5pPr>
            <a:lvl6pPr marL="251460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6pPr>
            <a:lvl7pPr marL="301752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7pPr>
            <a:lvl8pPr marL="352044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8pPr>
            <a:lvl9pPr marL="402336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824ECE-465F-6440-BF5E-40059E087516}" type="datetimeFigureOut">
              <a:rPr lang="en-US"/>
              <a:t>11/1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DDC04-7D39-9E44-8180-04F219DAF0B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1405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1515" y="2069042"/>
            <a:ext cx="4274820" cy="49315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2065" y="2069042"/>
            <a:ext cx="4274820" cy="49315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824ECE-465F-6440-BF5E-40059E087516}" type="datetimeFigureOut">
              <a:rPr lang="en-US"/>
              <a:t>11/1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DDC04-7D39-9E44-8180-04F219DAF0B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905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413810"/>
            <a:ext cx="8675370" cy="150230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2826" y="1905318"/>
            <a:ext cx="4255174" cy="933767"/>
          </a:xfrm>
        </p:spPr>
        <p:txBody>
          <a:bodyPr anchor="b"/>
          <a:lstStyle>
            <a:lvl1pPr marL="0" indent="0">
              <a:buNone/>
              <a:defRPr sz="2640" b="1"/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2826" y="2839085"/>
            <a:ext cx="4255174" cy="417586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2066" y="1905318"/>
            <a:ext cx="4276130" cy="933767"/>
          </a:xfrm>
        </p:spPr>
        <p:txBody>
          <a:bodyPr anchor="b"/>
          <a:lstStyle>
            <a:lvl1pPr marL="0" indent="0">
              <a:buNone/>
              <a:defRPr sz="2640" b="1"/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2066" y="2839085"/>
            <a:ext cx="4276130" cy="417586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824ECE-465F-6440-BF5E-40059E087516}" type="datetimeFigureOut">
              <a:rPr lang="en-US"/>
              <a:t>11/1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DDC04-7D39-9E44-8180-04F219DAF0B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8812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824ECE-465F-6440-BF5E-40059E087516}" type="datetimeFigureOut">
              <a:rPr lang="en-US"/>
              <a:t>11/1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DDC04-7D39-9E44-8180-04F219DAF0B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0220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824ECE-465F-6440-BF5E-40059E087516}" type="datetimeFigureOut">
              <a:rPr lang="en-US"/>
              <a:t>11/1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DDC04-7D39-9E44-8180-04F219DAF0B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953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518160"/>
            <a:ext cx="3244096" cy="1813560"/>
          </a:xfrm>
        </p:spPr>
        <p:txBody>
          <a:bodyPr anchor="b"/>
          <a:lstStyle>
            <a:lvl1pPr>
              <a:defRPr sz="352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6130" y="1119083"/>
            <a:ext cx="5092065" cy="5523442"/>
          </a:xfrm>
        </p:spPr>
        <p:txBody>
          <a:bodyPr/>
          <a:lstStyle>
            <a:lvl1pPr>
              <a:defRPr sz="3520"/>
            </a:lvl1pPr>
            <a:lvl2pPr>
              <a:defRPr sz="3080"/>
            </a:lvl2pPr>
            <a:lvl3pPr>
              <a:defRPr sz="264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2825" y="2331720"/>
            <a:ext cx="3244096" cy="4319800"/>
          </a:xfrm>
        </p:spPr>
        <p:txBody>
          <a:bodyPr/>
          <a:lstStyle>
            <a:lvl1pPr marL="0" indent="0">
              <a:buNone/>
              <a:defRPr sz="1760"/>
            </a:lvl1pPr>
            <a:lvl2pPr marL="502920" indent="0">
              <a:buNone/>
              <a:defRPr sz="1540"/>
            </a:lvl2pPr>
            <a:lvl3pPr marL="1005840" indent="0">
              <a:buNone/>
              <a:defRPr sz="1320"/>
            </a:lvl3pPr>
            <a:lvl4pPr marL="1508760" indent="0">
              <a:buNone/>
              <a:defRPr sz="1100"/>
            </a:lvl4pPr>
            <a:lvl5pPr marL="2011680" indent="0">
              <a:buNone/>
              <a:defRPr sz="1100"/>
            </a:lvl5pPr>
            <a:lvl6pPr marL="2514600" indent="0">
              <a:buNone/>
              <a:defRPr sz="1100"/>
            </a:lvl6pPr>
            <a:lvl7pPr marL="3017520" indent="0">
              <a:buNone/>
              <a:defRPr sz="1100"/>
            </a:lvl7pPr>
            <a:lvl8pPr marL="3520440" indent="0">
              <a:buNone/>
              <a:defRPr sz="1100"/>
            </a:lvl8pPr>
            <a:lvl9pPr marL="4023360" indent="0">
              <a:buNone/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824ECE-465F-6440-BF5E-40059E087516}" type="datetimeFigureOut">
              <a:rPr lang="en-US"/>
              <a:t>11/1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DDC04-7D39-9E44-8180-04F219DAF0B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1854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518160"/>
            <a:ext cx="3244096" cy="1813560"/>
          </a:xfrm>
        </p:spPr>
        <p:txBody>
          <a:bodyPr anchor="b"/>
          <a:lstStyle>
            <a:lvl1pPr>
              <a:defRPr sz="352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76130" y="1119083"/>
            <a:ext cx="5092065" cy="5523442"/>
          </a:xfrm>
        </p:spPr>
        <p:txBody>
          <a:bodyPr anchor="t"/>
          <a:lstStyle>
            <a:lvl1pPr marL="0" indent="0">
              <a:buNone/>
              <a:defRPr sz="3520"/>
            </a:lvl1pPr>
            <a:lvl2pPr marL="502920" indent="0">
              <a:buNone/>
              <a:defRPr sz="3080"/>
            </a:lvl2pPr>
            <a:lvl3pPr marL="1005840" indent="0">
              <a:buNone/>
              <a:defRPr sz="2640"/>
            </a:lvl3pPr>
            <a:lvl4pPr marL="1508760" indent="0">
              <a:buNone/>
              <a:defRPr sz="2200"/>
            </a:lvl4pPr>
            <a:lvl5pPr marL="2011680" indent="0">
              <a:buNone/>
              <a:defRPr sz="2200"/>
            </a:lvl5pPr>
            <a:lvl6pPr marL="2514600" indent="0">
              <a:buNone/>
              <a:defRPr sz="2200"/>
            </a:lvl6pPr>
            <a:lvl7pPr marL="3017520" indent="0">
              <a:buNone/>
              <a:defRPr sz="2200"/>
            </a:lvl7pPr>
            <a:lvl8pPr marL="3520440" indent="0">
              <a:buNone/>
              <a:defRPr sz="2200"/>
            </a:lvl8pPr>
            <a:lvl9pPr marL="4023360" indent="0">
              <a:buNone/>
              <a:defRPr sz="22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2825" y="2331720"/>
            <a:ext cx="3244096" cy="4319800"/>
          </a:xfrm>
        </p:spPr>
        <p:txBody>
          <a:bodyPr/>
          <a:lstStyle>
            <a:lvl1pPr marL="0" indent="0">
              <a:buNone/>
              <a:defRPr sz="1760"/>
            </a:lvl1pPr>
            <a:lvl2pPr marL="502920" indent="0">
              <a:buNone/>
              <a:defRPr sz="1540"/>
            </a:lvl2pPr>
            <a:lvl3pPr marL="1005840" indent="0">
              <a:buNone/>
              <a:defRPr sz="1320"/>
            </a:lvl3pPr>
            <a:lvl4pPr marL="1508760" indent="0">
              <a:buNone/>
              <a:defRPr sz="1100"/>
            </a:lvl4pPr>
            <a:lvl5pPr marL="2011680" indent="0">
              <a:buNone/>
              <a:defRPr sz="1100"/>
            </a:lvl5pPr>
            <a:lvl6pPr marL="2514600" indent="0">
              <a:buNone/>
              <a:defRPr sz="1100"/>
            </a:lvl6pPr>
            <a:lvl7pPr marL="3017520" indent="0">
              <a:buNone/>
              <a:defRPr sz="1100"/>
            </a:lvl7pPr>
            <a:lvl8pPr marL="3520440" indent="0">
              <a:buNone/>
              <a:defRPr sz="1100"/>
            </a:lvl8pPr>
            <a:lvl9pPr marL="4023360" indent="0">
              <a:buNone/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824ECE-465F-6440-BF5E-40059E087516}" type="datetimeFigureOut">
              <a:rPr lang="en-US"/>
              <a:t>11/1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DDC04-7D39-9E44-8180-04F219DAF0B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638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1515" y="413810"/>
            <a:ext cx="8675370" cy="15023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1515" y="2069042"/>
            <a:ext cx="8675370" cy="49315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1515" y="7203865"/>
            <a:ext cx="226314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824ECE-465F-6440-BF5E-40059E087516}" type="datetimeFigureOut">
              <a:rPr lang="en-US"/>
              <a:t>11/1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31845" y="7203865"/>
            <a:ext cx="339471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03745" y="7203865"/>
            <a:ext cx="226314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7DDC04-7D39-9E44-8180-04F219DAF0B3}" type="slidenum">
              <a:rPr lang="en-US"/>
              <a:t>‹#›</a:t>
            </a:fld>
            <a:endParaRPr 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D568603-639D-884B-C7CF-C3A0F21CAF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18936256"/>
              </p:ext>
            </p:extLst>
          </p:nvPr>
        </p:nvGraphicFramePr>
        <p:xfrm>
          <a:off x="1311" y="1800"/>
          <a:ext cx="1012" cy="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5BA1F5-C59C-E38E-ADC0-4987C8B0E0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311" y="1800"/>
                        <a:ext cx="1012" cy="1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64229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005840" rtl="0" eaLnBrk="1" latinLnBrk="0" hangingPunct="1">
        <a:lnSpc>
          <a:spcPct val="90000"/>
        </a:lnSpc>
        <a:spcBef>
          <a:spcPct val="0"/>
        </a:spcBef>
        <a:buNone/>
        <a:defRPr sz="484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460" indent="-251460" algn="l" defTabSz="1005840" rtl="0" eaLnBrk="1" latinLnBrk="0" hangingPunct="1">
        <a:lnSpc>
          <a:spcPct val="90000"/>
        </a:lnSpc>
        <a:spcBef>
          <a:spcPts val="1100"/>
        </a:spcBef>
        <a:buFont typeface="Arial" panose="020B0604020202020204" pitchFamily="34" charset="0"/>
        <a:buChar char="•"/>
        <a:defRPr sz="3080" kern="1200">
          <a:solidFill>
            <a:schemeClr val="tx1"/>
          </a:solidFill>
          <a:latin typeface="+mn-lt"/>
          <a:ea typeface="+mn-ea"/>
          <a:cs typeface="+mn-cs"/>
        </a:defRPr>
      </a:lvl1pPr>
      <a:lvl2pPr marL="75438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25730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6022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4pPr>
      <a:lvl5pPr marL="226314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5pPr>
      <a:lvl6pPr marL="276606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326898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77190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427482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3pPr>
      <a:lvl4pPr marL="150876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4pPr>
      <a:lvl5pPr marL="201168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301752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52044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402336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F776537-C2DE-372E-05AA-03CC3B223A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877800" y="1800"/>
          <a:ext cx="1391" cy="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776537-C2DE-372E-05AA-03CC3B223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877800" y="1800"/>
                        <a:ext cx="1391" cy="1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9F5F61A1-2D80-5220-DF96-7E7861ACA0CF}"/>
              </a:ext>
            </a:extLst>
          </p:cNvPr>
          <p:cNvSpPr>
            <a:spLocks noChangeAspect="1"/>
          </p:cNvSpPr>
          <p:nvPr/>
        </p:nvSpPr>
        <p:spPr>
          <a:xfrm>
            <a:off x="741037" y="128085"/>
            <a:ext cx="5181600" cy="5181600"/>
          </a:xfrm>
          <a:prstGeom prst="ellipse">
            <a:avLst/>
          </a:prstGeom>
          <a:solidFill>
            <a:srgbClr val="1696D2">
              <a:alpha val="60000"/>
            </a:srgbClr>
          </a:solidFill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0">
              <a:latin typeface="Lato" panose="020F0502020204030203" pitchFamily="34" charset="77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0301292-ADAE-B6C1-7D10-B7622B7DD311}"/>
              </a:ext>
            </a:extLst>
          </p:cNvPr>
          <p:cNvSpPr>
            <a:spLocks noChangeAspect="1"/>
          </p:cNvSpPr>
          <p:nvPr/>
        </p:nvSpPr>
        <p:spPr>
          <a:xfrm>
            <a:off x="4135763" y="128085"/>
            <a:ext cx="5181600" cy="5181600"/>
          </a:xfrm>
          <a:prstGeom prst="ellipse">
            <a:avLst/>
          </a:prstGeom>
          <a:solidFill>
            <a:srgbClr val="1696D2">
              <a:alpha val="60000"/>
            </a:srgbClr>
          </a:solidFill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0">
              <a:latin typeface="Lato" panose="020F0502020204030203" pitchFamily="34" charset="77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2677E4C-EEA1-C1F2-3130-D045222A4456}"/>
              </a:ext>
            </a:extLst>
          </p:cNvPr>
          <p:cNvSpPr>
            <a:spLocks noChangeAspect="1"/>
          </p:cNvSpPr>
          <p:nvPr/>
        </p:nvSpPr>
        <p:spPr>
          <a:xfrm>
            <a:off x="2438400" y="2462716"/>
            <a:ext cx="5181600" cy="5181600"/>
          </a:xfrm>
          <a:prstGeom prst="ellipse">
            <a:avLst/>
          </a:prstGeom>
          <a:solidFill>
            <a:srgbClr val="1696D2">
              <a:alpha val="60000"/>
            </a:srgbClr>
          </a:solidFill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0">
              <a:latin typeface="Lato" panose="020F0502020204030203" pitchFamily="34" charset="7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2DA340-EB2A-7E92-E25E-FA569973229F}"/>
              </a:ext>
            </a:extLst>
          </p:cNvPr>
          <p:cNvSpPr txBox="1"/>
          <p:nvPr/>
        </p:nvSpPr>
        <p:spPr>
          <a:xfrm>
            <a:off x="2133643" y="1310460"/>
            <a:ext cx="922751" cy="1836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333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3A6E262-A119-341A-65F6-3E0D5B81325F}"/>
              </a:ext>
            </a:extLst>
          </p:cNvPr>
          <p:cNvSpPr txBox="1"/>
          <p:nvPr/>
        </p:nvSpPr>
        <p:spPr>
          <a:xfrm>
            <a:off x="4567825" y="5301065"/>
            <a:ext cx="922751" cy="1836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333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6C92C1A-6B5A-FECF-0E52-279B05D7400D}"/>
              </a:ext>
            </a:extLst>
          </p:cNvPr>
          <p:cNvSpPr txBox="1"/>
          <p:nvPr/>
        </p:nvSpPr>
        <p:spPr>
          <a:xfrm>
            <a:off x="7158625" y="1310460"/>
            <a:ext cx="922751" cy="1836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333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2FDC7D9-40FF-9219-D9B0-AEC00EA954EE}"/>
              </a:ext>
            </a:extLst>
          </p:cNvPr>
          <p:cNvSpPr txBox="1"/>
          <p:nvPr/>
        </p:nvSpPr>
        <p:spPr>
          <a:xfrm>
            <a:off x="4042797" y="1415690"/>
            <a:ext cx="1972806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720">
                <a:latin typeface="Lato" panose="020F0502020204030203" pitchFamily="34" charset="77"/>
              </a:rPr>
              <a:t>Nam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63C737F-97A6-F53C-0E63-CB9AE4F26A86}"/>
              </a:ext>
            </a:extLst>
          </p:cNvPr>
          <p:cNvSpPr txBox="1"/>
          <p:nvPr/>
        </p:nvSpPr>
        <p:spPr>
          <a:xfrm>
            <a:off x="2595019" y="3750322"/>
            <a:ext cx="1972806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720">
                <a:latin typeface="Lato" panose="020F0502020204030203" pitchFamily="34" charset="77"/>
              </a:rPr>
              <a:t>Nam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7E666BD-25F4-1884-EC1F-AE922675DFE8}"/>
              </a:ext>
            </a:extLst>
          </p:cNvPr>
          <p:cNvSpPr txBox="1"/>
          <p:nvPr/>
        </p:nvSpPr>
        <p:spPr>
          <a:xfrm>
            <a:off x="5621168" y="3763530"/>
            <a:ext cx="1723221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720">
                <a:latin typeface="Lato" panose="020F0502020204030203" pitchFamily="34" charset="77"/>
              </a:rPr>
              <a:t>Name</a:t>
            </a:r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F3CF62A7-24F8-E660-3514-06F4AD660E70}"/>
              </a:ext>
            </a:extLst>
          </p:cNvPr>
          <p:cNvSpPr>
            <a:spLocks noChangeAspect="1"/>
          </p:cNvSpPr>
          <p:nvPr/>
        </p:nvSpPr>
        <p:spPr>
          <a:xfrm>
            <a:off x="4135763" y="2462716"/>
            <a:ext cx="1786875" cy="2210483"/>
          </a:xfrm>
          <a:custGeom>
            <a:avLst/>
            <a:gdLst>
              <a:gd name="connsiteX0" fmla="*/ 788327 w 1576654"/>
              <a:gd name="connsiteY0" fmla="*/ 0 h 1950426"/>
              <a:gd name="connsiteX1" fmla="*/ 1468114 w 1576654"/>
              <a:gd name="connsiteY1" fmla="*/ 102774 h 1950426"/>
              <a:gd name="connsiteX2" fmla="*/ 1572357 w 1576654"/>
              <a:gd name="connsiteY2" fmla="*/ 140928 h 1950426"/>
              <a:gd name="connsiteX3" fmla="*/ 1576654 w 1576654"/>
              <a:gd name="connsiteY3" fmla="*/ 226031 h 1950426"/>
              <a:gd name="connsiteX4" fmla="*/ 907101 w 1576654"/>
              <a:gd name="connsiteY4" fmla="*/ 1842477 h 1950426"/>
              <a:gd name="connsiteX5" fmla="*/ 788327 w 1576654"/>
              <a:gd name="connsiteY5" fmla="*/ 1950426 h 1950426"/>
              <a:gd name="connsiteX6" fmla="*/ 669554 w 1576654"/>
              <a:gd name="connsiteY6" fmla="*/ 1842477 h 1950426"/>
              <a:gd name="connsiteX7" fmla="*/ 0 w 1576654"/>
              <a:gd name="connsiteY7" fmla="*/ 226031 h 1950426"/>
              <a:gd name="connsiteX8" fmla="*/ 4298 w 1576654"/>
              <a:gd name="connsiteY8" fmla="*/ 140928 h 1950426"/>
              <a:gd name="connsiteX9" fmla="*/ 108541 w 1576654"/>
              <a:gd name="connsiteY9" fmla="*/ 102774 h 1950426"/>
              <a:gd name="connsiteX10" fmla="*/ 788327 w 1576654"/>
              <a:gd name="connsiteY10" fmla="*/ 0 h 1950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76654" h="1950426">
                <a:moveTo>
                  <a:pt x="788327" y="0"/>
                </a:moveTo>
                <a:cubicBezTo>
                  <a:pt x="1025050" y="0"/>
                  <a:pt x="1253369" y="35982"/>
                  <a:pt x="1468114" y="102774"/>
                </a:cubicBezTo>
                <a:lnTo>
                  <a:pt x="1572357" y="140928"/>
                </a:lnTo>
                <a:lnTo>
                  <a:pt x="1576654" y="226031"/>
                </a:lnTo>
                <a:cubicBezTo>
                  <a:pt x="1576654" y="857293"/>
                  <a:pt x="1320785" y="1428793"/>
                  <a:pt x="907101" y="1842477"/>
                </a:cubicBezTo>
                <a:lnTo>
                  <a:pt x="788327" y="1950426"/>
                </a:lnTo>
                <a:lnTo>
                  <a:pt x="669554" y="1842477"/>
                </a:lnTo>
                <a:cubicBezTo>
                  <a:pt x="255870" y="1428793"/>
                  <a:pt x="0" y="857293"/>
                  <a:pt x="0" y="226031"/>
                </a:cubicBezTo>
                <a:lnTo>
                  <a:pt x="4298" y="140928"/>
                </a:lnTo>
                <a:lnTo>
                  <a:pt x="108541" y="102774"/>
                </a:lnTo>
                <a:cubicBezTo>
                  <a:pt x="323285" y="35982"/>
                  <a:pt x="551604" y="0"/>
                  <a:pt x="788327" y="0"/>
                </a:cubicBezTo>
                <a:close/>
              </a:path>
            </a:pathLst>
          </a:custGeom>
          <a:solidFill>
            <a:schemeClr val="accent4"/>
          </a:solidFill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040">
              <a:latin typeface="Lato" panose="020F0502020204030203" pitchFamily="34" charset="7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0DC2E05-B255-3DBB-5E18-E513AE2608B8}"/>
              </a:ext>
            </a:extLst>
          </p:cNvPr>
          <p:cNvSpPr txBox="1"/>
          <p:nvPr/>
        </p:nvSpPr>
        <p:spPr>
          <a:xfrm>
            <a:off x="3895150" y="3153688"/>
            <a:ext cx="2258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Lato" panose="020F0502020204030203" pitchFamily="34" charset="77"/>
              </a:rPr>
              <a:t>Intersection</a:t>
            </a:r>
          </a:p>
        </p:txBody>
      </p:sp>
    </p:spTree>
    <p:extLst>
      <p:ext uri="{BB962C8B-B14F-4D97-AF65-F5344CB8AC3E}">
        <p14:creationId xmlns:p14="http://schemas.microsoft.com/office/powerpoint/2010/main" val="2964333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F776537-C2DE-372E-05AA-03CC3B223A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877800" y="1800"/>
          <a:ext cx="1391" cy="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776537-C2DE-372E-05AA-03CC3B223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877800" y="1800"/>
                        <a:ext cx="1391" cy="1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9F5F61A1-2D80-5220-DF96-7E7861ACA0CF}"/>
              </a:ext>
            </a:extLst>
          </p:cNvPr>
          <p:cNvSpPr>
            <a:spLocks noChangeAspect="1"/>
          </p:cNvSpPr>
          <p:nvPr/>
        </p:nvSpPr>
        <p:spPr>
          <a:xfrm>
            <a:off x="741037" y="1295400"/>
            <a:ext cx="5181600" cy="5181600"/>
          </a:xfrm>
          <a:prstGeom prst="ellipse">
            <a:avLst/>
          </a:prstGeom>
          <a:solidFill>
            <a:srgbClr val="1696D2">
              <a:alpha val="60000"/>
            </a:srgbClr>
          </a:solidFill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0301292-ADAE-B6C1-7D10-B7622B7DD311}"/>
              </a:ext>
            </a:extLst>
          </p:cNvPr>
          <p:cNvSpPr>
            <a:spLocks noChangeAspect="1"/>
          </p:cNvSpPr>
          <p:nvPr/>
        </p:nvSpPr>
        <p:spPr>
          <a:xfrm>
            <a:off x="4135763" y="1295400"/>
            <a:ext cx="5181600" cy="5181600"/>
          </a:xfrm>
          <a:prstGeom prst="ellipse">
            <a:avLst/>
          </a:prstGeom>
          <a:solidFill>
            <a:srgbClr val="1696D2">
              <a:alpha val="60000"/>
            </a:srgbClr>
          </a:solidFill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40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064D6D5D-B45B-C8FE-3102-35F0DBD08FB7}"/>
              </a:ext>
            </a:extLst>
          </p:cNvPr>
          <p:cNvSpPr>
            <a:spLocks noChangeAspect="1"/>
          </p:cNvSpPr>
          <p:nvPr/>
        </p:nvSpPr>
        <p:spPr>
          <a:xfrm>
            <a:off x="4135763" y="1931887"/>
            <a:ext cx="1786874" cy="3908626"/>
          </a:xfrm>
          <a:custGeom>
            <a:avLst/>
            <a:gdLst>
              <a:gd name="connsiteX0" fmla="*/ 893437 w 1786874"/>
              <a:gd name="connsiteY0" fmla="*/ 0 h 3908626"/>
              <a:gd name="connsiteX1" fmla="*/ 1028046 w 1786874"/>
              <a:gd name="connsiteY1" fmla="*/ 122341 h 3908626"/>
              <a:gd name="connsiteX2" fmla="*/ 1786874 w 1786874"/>
              <a:gd name="connsiteY2" fmla="*/ 1954313 h 3908626"/>
              <a:gd name="connsiteX3" fmla="*/ 1028046 w 1786874"/>
              <a:gd name="connsiteY3" fmla="*/ 3786285 h 3908626"/>
              <a:gd name="connsiteX4" fmla="*/ 893437 w 1786874"/>
              <a:gd name="connsiteY4" fmla="*/ 3908626 h 3908626"/>
              <a:gd name="connsiteX5" fmla="*/ 758828 w 1786874"/>
              <a:gd name="connsiteY5" fmla="*/ 3786285 h 3908626"/>
              <a:gd name="connsiteX6" fmla="*/ 0 w 1786874"/>
              <a:gd name="connsiteY6" fmla="*/ 1954313 h 3908626"/>
              <a:gd name="connsiteX7" fmla="*/ 758828 w 1786874"/>
              <a:gd name="connsiteY7" fmla="*/ 122341 h 3908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86874" h="3908626">
                <a:moveTo>
                  <a:pt x="893437" y="0"/>
                </a:moveTo>
                <a:lnTo>
                  <a:pt x="1028046" y="122341"/>
                </a:lnTo>
                <a:cubicBezTo>
                  <a:pt x="1496889" y="591184"/>
                  <a:pt x="1786874" y="1238884"/>
                  <a:pt x="1786874" y="1954313"/>
                </a:cubicBezTo>
                <a:cubicBezTo>
                  <a:pt x="1786874" y="2669743"/>
                  <a:pt x="1496889" y="3317443"/>
                  <a:pt x="1028046" y="3786285"/>
                </a:cubicBezTo>
                <a:lnTo>
                  <a:pt x="893437" y="3908626"/>
                </a:lnTo>
                <a:lnTo>
                  <a:pt x="758828" y="3786285"/>
                </a:lnTo>
                <a:cubicBezTo>
                  <a:pt x="289986" y="3317443"/>
                  <a:pt x="0" y="2669743"/>
                  <a:pt x="0" y="1954313"/>
                </a:cubicBezTo>
                <a:cubicBezTo>
                  <a:pt x="0" y="1238884"/>
                  <a:pt x="289986" y="591184"/>
                  <a:pt x="758828" y="122341"/>
                </a:cubicBezTo>
                <a:close/>
              </a:path>
            </a:pathLst>
          </a:custGeom>
          <a:solidFill>
            <a:schemeClr val="accent4"/>
          </a:solidFill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04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377B9D-9C66-9ED1-4246-20EE7EA6C176}"/>
              </a:ext>
            </a:extLst>
          </p:cNvPr>
          <p:cNvSpPr txBox="1"/>
          <p:nvPr/>
        </p:nvSpPr>
        <p:spPr>
          <a:xfrm>
            <a:off x="2133643" y="2968032"/>
            <a:ext cx="922751" cy="1836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333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4588C6-FF18-DEFE-09B9-A11BA4D555D7}"/>
              </a:ext>
            </a:extLst>
          </p:cNvPr>
          <p:cNvSpPr txBox="1"/>
          <p:nvPr/>
        </p:nvSpPr>
        <p:spPr>
          <a:xfrm>
            <a:off x="7158625" y="2968032"/>
            <a:ext cx="922751" cy="18363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333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9CB654-41DE-3BB3-2CEF-C3E13D02CDBA}"/>
              </a:ext>
            </a:extLst>
          </p:cNvPr>
          <p:cNvSpPr txBox="1"/>
          <p:nvPr/>
        </p:nvSpPr>
        <p:spPr>
          <a:xfrm>
            <a:off x="3895150" y="3701534"/>
            <a:ext cx="2258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atin typeface="Lato" panose="020F0502020204030203" pitchFamily="34" charset="77"/>
              </a:rPr>
              <a:t>Intersection</a:t>
            </a:r>
          </a:p>
        </p:txBody>
      </p:sp>
    </p:spTree>
    <p:extLst>
      <p:ext uri="{BB962C8B-B14F-4D97-AF65-F5344CB8AC3E}">
        <p14:creationId xmlns:p14="http://schemas.microsoft.com/office/powerpoint/2010/main" val="16276818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F776537-C2DE-372E-05AA-03CC3B223A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877800" y="1800"/>
          <a:ext cx="1391" cy="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776537-C2DE-372E-05AA-03CC3B223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877800" y="1800"/>
                        <a:ext cx="1391" cy="1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val 1">
            <a:extLst>
              <a:ext uri="{FF2B5EF4-FFF2-40B4-BE49-F238E27FC236}">
                <a16:creationId xmlns:a16="http://schemas.microsoft.com/office/drawing/2014/main" id="{4979AC63-C4E3-1F45-D5B3-B31DDDE45F68}"/>
              </a:ext>
            </a:extLst>
          </p:cNvPr>
          <p:cNvSpPr/>
          <p:nvPr/>
        </p:nvSpPr>
        <p:spPr>
          <a:xfrm rot="18981066">
            <a:off x="1356535" y="716921"/>
            <a:ext cx="3704865" cy="7092830"/>
          </a:xfrm>
          <a:prstGeom prst="ellipse">
            <a:avLst/>
          </a:prstGeom>
          <a:solidFill>
            <a:schemeClr val="accent1">
              <a:alpha val="35000"/>
            </a:schemeClr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0B4C1F7-D28D-6A5D-C01D-394FAF765923}"/>
              </a:ext>
            </a:extLst>
          </p:cNvPr>
          <p:cNvSpPr/>
          <p:nvPr/>
        </p:nvSpPr>
        <p:spPr>
          <a:xfrm rot="18981066">
            <a:off x="3139698" y="49149"/>
            <a:ext cx="3704865" cy="7092830"/>
          </a:xfrm>
          <a:prstGeom prst="ellipse">
            <a:avLst/>
          </a:prstGeom>
          <a:solidFill>
            <a:schemeClr val="accent2">
              <a:alpha val="35000"/>
            </a:schemeClr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3EBB353-5FAE-F384-1906-0A08C9CDE5A4}"/>
              </a:ext>
            </a:extLst>
          </p:cNvPr>
          <p:cNvSpPr/>
          <p:nvPr/>
        </p:nvSpPr>
        <p:spPr>
          <a:xfrm rot="2618934" flipH="1">
            <a:off x="3176768" y="49149"/>
            <a:ext cx="3704865" cy="7092830"/>
          </a:xfrm>
          <a:prstGeom prst="ellipse">
            <a:avLst/>
          </a:prstGeom>
          <a:solidFill>
            <a:schemeClr val="accent4">
              <a:alpha val="35000"/>
            </a:schemeClr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D712706-2C31-90D0-418E-CF028375B293}"/>
              </a:ext>
            </a:extLst>
          </p:cNvPr>
          <p:cNvSpPr/>
          <p:nvPr/>
        </p:nvSpPr>
        <p:spPr>
          <a:xfrm rot="2618934" flipH="1">
            <a:off x="4922860" y="716920"/>
            <a:ext cx="3704865" cy="7092830"/>
          </a:xfrm>
          <a:prstGeom prst="ellipse">
            <a:avLst/>
          </a:prstGeom>
          <a:solidFill>
            <a:schemeClr val="accent5">
              <a:alpha val="35000"/>
            </a:schemeClr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1AB43AF1-8F8B-A21D-67F5-A551F33CEE60}"/>
              </a:ext>
            </a:extLst>
          </p:cNvPr>
          <p:cNvSpPr/>
          <p:nvPr/>
        </p:nvSpPr>
        <p:spPr>
          <a:xfrm rot="18981066">
            <a:off x="4091518" y="1383075"/>
            <a:ext cx="1836554" cy="1762561"/>
          </a:xfrm>
          <a:custGeom>
            <a:avLst/>
            <a:gdLst>
              <a:gd name="connsiteX0" fmla="*/ 1617439 w 1836554"/>
              <a:gd name="connsiteY0" fmla="*/ 149603 h 1762561"/>
              <a:gd name="connsiteX1" fmla="*/ 1693506 w 1836554"/>
              <a:gd name="connsiteY1" fmla="*/ 451903 h 1762561"/>
              <a:gd name="connsiteX2" fmla="*/ 1829515 w 1836554"/>
              <a:gd name="connsiteY2" fmla="*/ 1469728 h 1762561"/>
              <a:gd name="connsiteX3" fmla="*/ 1836554 w 1836554"/>
              <a:gd name="connsiteY3" fmla="*/ 1736631 h 1762561"/>
              <a:gd name="connsiteX4" fmla="*/ 1786007 w 1836554"/>
              <a:gd name="connsiteY4" fmla="*/ 1729418 h 1762561"/>
              <a:gd name="connsiteX5" fmla="*/ 728658 w 1836554"/>
              <a:gd name="connsiteY5" fmla="*/ 1695947 h 1762561"/>
              <a:gd name="connsiteX6" fmla="*/ 366912 w 1836554"/>
              <a:gd name="connsiteY6" fmla="*/ 1722595 h 1762561"/>
              <a:gd name="connsiteX7" fmla="*/ 53196 w 1836554"/>
              <a:gd name="connsiteY7" fmla="*/ 1762561 h 1762561"/>
              <a:gd name="connsiteX8" fmla="*/ 78327 w 1836554"/>
              <a:gd name="connsiteY8" fmla="*/ 1447311 h 1762561"/>
              <a:gd name="connsiteX9" fmla="*/ 87891 w 1836554"/>
              <a:gd name="connsiteY9" fmla="*/ 1084711 h 1762561"/>
              <a:gd name="connsiteX10" fmla="*/ 4610 w 1836554"/>
              <a:gd name="connsiteY10" fmla="*/ 30116 h 1762561"/>
              <a:gd name="connsiteX11" fmla="*/ 0 w 1836554"/>
              <a:gd name="connsiteY11" fmla="*/ 6005 h 1762561"/>
              <a:gd name="connsiteX12" fmla="*/ 288784 w 1836554"/>
              <a:gd name="connsiteY12" fmla="*/ 0 h 1762561"/>
              <a:gd name="connsiteX13" fmla="*/ 1311890 w 1836554"/>
              <a:gd name="connsiteY13" fmla="*/ 87873 h 1762561"/>
              <a:gd name="connsiteX14" fmla="*/ 1617439 w 1836554"/>
              <a:gd name="connsiteY14" fmla="*/ 149603 h 1762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836554" h="1762561">
                <a:moveTo>
                  <a:pt x="1617439" y="149603"/>
                </a:moveTo>
                <a:lnTo>
                  <a:pt x="1693506" y="451903"/>
                </a:lnTo>
                <a:cubicBezTo>
                  <a:pt x="1763809" y="770119"/>
                  <a:pt x="1810543" y="1112068"/>
                  <a:pt x="1829515" y="1469728"/>
                </a:cubicBezTo>
                <a:lnTo>
                  <a:pt x="1836554" y="1736631"/>
                </a:lnTo>
                <a:lnTo>
                  <a:pt x="1786007" y="1729418"/>
                </a:lnTo>
                <a:cubicBezTo>
                  <a:pt x="1450679" y="1691060"/>
                  <a:pt x="1095493" y="1678633"/>
                  <a:pt x="728658" y="1695947"/>
                </a:cubicBezTo>
                <a:cubicBezTo>
                  <a:pt x="606380" y="1701718"/>
                  <a:pt x="485701" y="1710657"/>
                  <a:pt x="366912" y="1722595"/>
                </a:cubicBezTo>
                <a:lnTo>
                  <a:pt x="53196" y="1762561"/>
                </a:lnTo>
                <a:lnTo>
                  <a:pt x="78327" y="1447311"/>
                </a:lnTo>
                <a:cubicBezTo>
                  <a:pt x="84652" y="1328091"/>
                  <a:pt x="87891" y="1207125"/>
                  <a:pt x="87891" y="1084711"/>
                </a:cubicBezTo>
                <a:cubicBezTo>
                  <a:pt x="87891" y="717468"/>
                  <a:pt x="58734" y="363262"/>
                  <a:pt x="4610" y="30116"/>
                </a:cubicBezTo>
                <a:lnTo>
                  <a:pt x="0" y="6005"/>
                </a:lnTo>
                <a:lnTo>
                  <a:pt x="288784" y="0"/>
                </a:lnTo>
                <a:cubicBezTo>
                  <a:pt x="646941" y="2090"/>
                  <a:pt x="990713" y="32650"/>
                  <a:pt x="1311890" y="87873"/>
                </a:cubicBezTo>
                <a:lnTo>
                  <a:pt x="1617439" y="149603"/>
                </a:ln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C7A8E8A-FB21-DE7F-8E3F-1BF57C73429C}"/>
              </a:ext>
            </a:extLst>
          </p:cNvPr>
          <p:cNvSpPr/>
          <p:nvPr/>
        </p:nvSpPr>
        <p:spPr>
          <a:xfrm rot="18981066">
            <a:off x="6459692" y="1529771"/>
            <a:ext cx="1804535" cy="1712410"/>
          </a:xfrm>
          <a:custGeom>
            <a:avLst/>
            <a:gdLst>
              <a:gd name="connsiteX0" fmla="*/ 1804535 w 1804535"/>
              <a:gd name="connsiteY0" fmla="*/ 475212 h 1712410"/>
              <a:gd name="connsiteX1" fmla="*/ 1788599 w 1804535"/>
              <a:gd name="connsiteY1" fmla="*/ 511850 h 1712410"/>
              <a:gd name="connsiteX2" fmla="*/ 144764 w 1804535"/>
              <a:gd name="connsiteY2" fmla="*/ 1668632 h 1712410"/>
              <a:gd name="connsiteX3" fmla="*/ 0 w 1804535"/>
              <a:gd name="connsiteY3" fmla="*/ 1712410 h 1712410"/>
              <a:gd name="connsiteX4" fmla="*/ 59456 w 1804535"/>
              <a:gd name="connsiteY4" fmla="*/ 1476122 h 1712410"/>
              <a:gd name="connsiteX5" fmla="*/ 205030 w 1804535"/>
              <a:gd name="connsiteY5" fmla="*/ 95697 h 1712410"/>
              <a:gd name="connsiteX6" fmla="*/ 202505 w 1804535"/>
              <a:gd name="connsiteY6" fmla="*/ 0 h 1712410"/>
              <a:gd name="connsiteX7" fmla="*/ 480363 w 1804535"/>
              <a:gd name="connsiteY7" fmla="*/ 39648 h 1712410"/>
              <a:gd name="connsiteX8" fmla="*/ 1625094 w 1804535"/>
              <a:gd name="connsiteY8" fmla="*/ 383053 h 1712410"/>
              <a:gd name="connsiteX9" fmla="*/ 1804535 w 1804535"/>
              <a:gd name="connsiteY9" fmla="*/ 475212 h 1712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04535" h="1712410">
                <a:moveTo>
                  <a:pt x="1804535" y="475212"/>
                </a:moveTo>
                <a:lnTo>
                  <a:pt x="1788599" y="511850"/>
                </a:lnTo>
                <a:cubicBezTo>
                  <a:pt x="1534465" y="988402"/>
                  <a:pt x="937119" y="1402843"/>
                  <a:pt x="144764" y="1668632"/>
                </a:cubicBezTo>
                <a:lnTo>
                  <a:pt x="0" y="1712410"/>
                </a:lnTo>
                <a:lnTo>
                  <a:pt x="59456" y="1476122"/>
                </a:lnTo>
                <a:cubicBezTo>
                  <a:pt x="153194" y="1051834"/>
                  <a:pt x="205030" y="585355"/>
                  <a:pt x="205030" y="95697"/>
                </a:cubicBezTo>
                <a:lnTo>
                  <a:pt x="202505" y="0"/>
                </a:lnTo>
                <a:lnTo>
                  <a:pt x="480363" y="39648"/>
                </a:lnTo>
                <a:cubicBezTo>
                  <a:pt x="908597" y="113279"/>
                  <a:pt x="1296661" y="230756"/>
                  <a:pt x="1625094" y="383053"/>
                </a:cubicBezTo>
                <a:lnTo>
                  <a:pt x="1804535" y="475212"/>
                </a:ln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7B54B742-7F0C-CBAF-FEC0-BA8CCC3EF867}"/>
              </a:ext>
            </a:extLst>
          </p:cNvPr>
          <p:cNvSpPr/>
          <p:nvPr/>
        </p:nvSpPr>
        <p:spPr>
          <a:xfrm rot="18981066">
            <a:off x="1848573" y="1449136"/>
            <a:ext cx="1679113" cy="1856205"/>
          </a:xfrm>
          <a:custGeom>
            <a:avLst/>
            <a:gdLst>
              <a:gd name="connsiteX0" fmla="*/ 1141301 w 1679113"/>
              <a:gd name="connsiteY0" fmla="*/ 0 h 1856205"/>
              <a:gd name="connsiteX1" fmla="*/ 1224439 w 1679113"/>
              <a:gd name="connsiteY1" fmla="*/ 144659 h 1856205"/>
              <a:gd name="connsiteX2" fmla="*/ 1621431 w 1679113"/>
              <a:gd name="connsiteY2" fmla="*/ 1271928 h 1856205"/>
              <a:gd name="connsiteX3" fmla="*/ 1679113 w 1679113"/>
              <a:gd name="connsiteY3" fmla="*/ 1573647 h 1856205"/>
              <a:gd name="connsiteX4" fmla="*/ 1605249 w 1679113"/>
              <a:gd name="connsiteY4" fmla="*/ 1575183 h 1856205"/>
              <a:gd name="connsiteX5" fmla="*/ 233222 w 1679113"/>
              <a:gd name="connsiteY5" fmla="*/ 1785675 h 1856205"/>
              <a:gd name="connsiteX6" fmla="*/ 0 w 1679113"/>
              <a:gd name="connsiteY6" fmla="*/ 1856205 h 1856205"/>
              <a:gd name="connsiteX7" fmla="*/ 36905 w 1679113"/>
              <a:gd name="connsiteY7" fmla="*/ 1709539 h 1856205"/>
              <a:gd name="connsiteX8" fmla="*/ 1114902 w 1679113"/>
              <a:gd name="connsiteY8" fmla="*/ 12996 h 1856205"/>
              <a:gd name="connsiteX9" fmla="*/ 1141301 w 1679113"/>
              <a:gd name="connsiteY9" fmla="*/ 0 h 1856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79113" h="1856205">
                <a:moveTo>
                  <a:pt x="1141301" y="0"/>
                </a:moveTo>
                <a:lnTo>
                  <a:pt x="1224439" y="144659"/>
                </a:lnTo>
                <a:cubicBezTo>
                  <a:pt x="1392051" y="465546"/>
                  <a:pt x="1527692" y="847641"/>
                  <a:pt x="1621431" y="1271928"/>
                </a:cubicBezTo>
                <a:lnTo>
                  <a:pt x="1679113" y="1573647"/>
                </a:lnTo>
                <a:lnTo>
                  <a:pt x="1605249" y="1575183"/>
                </a:lnTo>
                <a:cubicBezTo>
                  <a:pt x="1116136" y="1598268"/>
                  <a:pt x="652618" y="1672038"/>
                  <a:pt x="233222" y="1785675"/>
                </a:cubicBezTo>
                <a:lnTo>
                  <a:pt x="0" y="1856205"/>
                </a:lnTo>
                <a:lnTo>
                  <a:pt x="36905" y="1709539"/>
                </a:lnTo>
                <a:cubicBezTo>
                  <a:pt x="265043" y="905534"/>
                  <a:pt x="650861" y="289313"/>
                  <a:pt x="1114902" y="12996"/>
                </a:cubicBezTo>
                <a:lnTo>
                  <a:pt x="1141301" y="0"/>
                </a:ln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14DCC649-9DE7-4197-934C-768DEDC34FBE}"/>
              </a:ext>
            </a:extLst>
          </p:cNvPr>
          <p:cNvSpPr/>
          <p:nvPr/>
        </p:nvSpPr>
        <p:spPr>
          <a:xfrm rot="18981066">
            <a:off x="4032772" y="3883338"/>
            <a:ext cx="1892073" cy="1944879"/>
          </a:xfrm>
          <a:custGeom>
            <a:avLst/>
            <a:gdLst>
              <a:gd name="connsiteX0" fmla="*/ 1892073 w 1892073"/>
              <a:gd name="connsiteY0" fmla="*/ 0 h 1944879"/>
              <a:gd name="connsiteX1" fmla="*/ 1889133 w 1892073"/>
              <a:gd name="connsiteY1" fmla="*/ 36876 h 1944879"/>
              <a:gd name="connsiteX2" fmla="*/ 1384203 w 1892073"/>
              <a:gd name="connsiteY2" fmla="*/ 1829844 h 1944879"/>
              <a:gd name="connsiteX3" fmla="*/ 1318091 w 1892073"/>
              <a:gd name="connsiteY3" fmla="*/ 1944879 h 1944879"/>
              <a:gd name="connsiteX4" fmla="*/ 1223972 w 1892073"/>
              <a:gd name="connsiteY4" fmla="*/ 1941829 h 1944879"/>
              <a:gd name="connsiteX5" fmla="*/ 240585 w 1892073"/>
              <a:gd name="connsiteY5" fmla="*/ 1802092 h 1944879"/>
              <a:gd name="connsiteX6" fmla="*/ 207137 w 1892073"/>
              <a:gd name="connsiteY6" fmla="*/ 1793190 h 1944879"/>
              <a:gd name="connsiteX7" fmla="*/ 196668 w 1892073"/>
              <a:gd name="connsiteY7" fmla="*/ 1760200 h 1944879"/>
              <a:gd name="connsiteX8" fmla="*/ 10725 w 1892073"/>
              <a:gd name="connsiteY8" fmla="*/ 784494 h 1944879"/>
              <a:gd name="connsiteX9" fmla="*/ 0 w 1892073"/>
              <a:gd name="connsiteY9" fmla="*/ 649960 h 1944879"/>
              <a:gd name="connsiteX10" fmla="*/ 88208 w 1892073"/>
              <a:gd name="connsiteY10" fmla="*/ 593573 h 1944879"/>
              <a:gd name="connsiteX11" fmla="*/ 1855377 w 1892073"/>
              <a:gd name="connsiteY11" fmla="*/ 4675 h 1944879"/>
              <a:gd name="connsiteX12" fmla="*/ 1892073 w 1892073"/>
              <a:gd name="connsiteY12" fmla="*/ 0 h 194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92073" h="1944879">
                <a:moveTo>
                  <a:pt x="1892073" y="0"/>
                </a:moveTo>
                <a:lnTo>
                  <a:pt x="1889133" y="36876"/>
                </a:lnTo>
                <a:cubicBezTo>
                  <a:pt x="1815105" y="729466"/>
                  <a:pt x="1635621" y="1348513"/>
                  <a:pt x="1384203" y="1829844"/>
                </a:cubicBezTo>
                <a:lnTo>
                  <a:pt x="1318091" y="1944879"/>
                </a:lnTo>
                <a:lnTo>
                  <a:pt x="1223972" y="1941829"/>
                </a:lnTo>
                <a:cubicBezTo>
                  <a:pt x="876317" y="1921183"/>
                  <a:pt x="545784" y="1873335"/>
                  <a:pt x="240585" y="1802092"/>
                </a:cubicBezTo>
                <a:lnTo>
                  <a:pt x="207137" y="1793190"/>
                </a:lnTo>
                <a:lnTo>
                  <a:pt x="196668" y="1760200"/>
                </a:lnTo>
                <a:cubicBezTo>
                  <a:pt x="111117" y="1458698"/>
                  <a:pt x="47739" y="1130788"/>
                  <a:pt x="10725" y="784494"/>
                </a:cubicBezTo>
                <a:lnTo>
                  <a:pt x="0" y="649960"/>
                </a:lnTo>
                <a:lnTo>
                  <a:pt x="88208" y="593573"/>
                </a:lnTo>
                <a:cubicBezTo>
                  <a:pt x="557151" y="319742"/>
                  <a:pt x="1167048" y="111273"/>
                  <a:pt x="1855377" y="4675"/>
                </a:cubicBezTo>
                <a:lnTo>
                  <a:pt x="1892073" y="0"/>
                </a:ln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9F29AEBB-8CAE-842B-12CD-41139EA884C2}"/>
              </a:ext>
            </a:extLst>
          </p:cNvPr>
          <p:cNvSpPr/>
          <p:nvPr/>
        </p:nvSpPr>
        <p:spPr>
          <a:xfrm rot="18981066">
            <a:off x="2128251" y="3865768"/>
            <a:ext cx="1850989" cy="2903830"/>
          </a:xfrm>
          <a:custGeom>
            <a:avLst/>
            <a:gdLst>
              <a:gd name="connsiteX0" fmla="*/ 1850989 w 1850989"/>
              <a:gd name="connsiteY0" fmla="*/ 0 h 2903830"/>
              <a:gd name="connsiteX1" fmla="*/ 1809888 w 1850989"/>
              <a:gd name="connsiteY1" fmla="*/ 163341 h 2903830"/>
              <a:gd name="connsiteX2" fmla="*/ 1664315 w 1850989"/>
              <a:gd name="connsiteY2" fmla="*/ 1543765 h 2903830"/>
              <a:gd name="connsiteX3" fmla="*/ 1673879 w 1850989"/>
              <a:gd name="connsiteY3" fmla="*/ 1906366 h 2903830"/>
              <a:gd name="connsiteX4" fmla="*/ 1691225 w 1850989"/>
              <a:gd name="connsiteY4" fmla="*/ 2123958 h 2903830"/>
              <a:gd name="connsiteX5" fmla="*/ 1556997 w 1850989"/>
              <a:gd name="connsiteY5" fmla="*/ 2209764 h 2903830"/>
              <a:gd name="connsiteX6" fmla="*/ 936913 w 1850989"/>
              <a:gd name="connsiteY6" fmla="*/ 2867192 h 2903830"/>
              <a:gd name="connsiteX7" fmla="*/ 920977 w 1850989"/>
              <a:gd name="connsiteY7" fmla="*/ 2903830 h 2903830"/>
              <a:gd name="connsiteX8" fmla="*/ 865578 w 1850989"/>
              <a:gd name="connsiteY8" fmla="*/ 2875377 h 2903830"/>
              <a:gd name="connsiteX9" fmla="*/ 1098 w 1850989"/>
              <a:gd name="connsiteY9" fmla="*/ 1736547 h 2903830"/>
              <a:gd name="connsiteX10" fmla="*/ 1778227 w 1850989"/>
              <a:gd name="connsiteY10" fmla="*/ 22004 h 2903830"/>
              <a:gd name="connsiteX11" fmla="*/ 1850989 w 1850989"/>
              <a:gd name="connsiteY11" fmla="*/ 0 h 2903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50989" h="2903830">
                <a:moveTo>
                  <a:pt x="1850989" y="0"/>
                </a:moveTo>
                <a:lnTo>
                  <a:pt x="1809888" y="163341"/>
                </a:lnTo>
                <a:cubicBezTo>
                  <a:pt x="1716150" y="587628"/>
                  <a:pt x="1664315" y="1054108"/>
                  <a:pt x="1664315" y="1543765"/>
                </a:cubicBezTo>
                <a:cubicBezTo>
                  <a:pt x="1664315" y="1666180"/>
                  <a:pt x="1667554" y="1787146"/>
                  <a:pt x="1673879" y="1906366"/>
                </a:cubicBezTo>
                <a:lnTo>
                  <a:pt x="1691225" y="2123958"/>
                </a:lnTo>
                <a:lnTo>
                  <a:pt x="1556997" y="2209764"/>
                </a:lnTo>
                <a:cubicBezTo>
                  <a:pt x="1276850" y="2406167"/>
                  <a:pt x="1063980" y="2628916"/>
                  <a:pt x="936913" y="2867192"/>
                </a:cubicBezTo>
                <a:lnTo>
                  <a:pt x="920977" y="2903830"/>
                </a:lnTo>
                <a:lnTo>
                  <a:pt x="865578" y="2875377"/>
                </a:lnTo>
                <a:cubicBezTo>
                  <a:pt x="345127" y="2579375"/>
                  <a:pt x="22200" y="2183643"/>
                  <a:pt x="1098" y="1736547"/>
                </a:cubicBezTo>
                <a:cubicBezTo>
                  <a:pt x="-32061" y="1033968"/>
                  <a:pt x="688737" y="387464"/>
                  <a:pt x="1778227" y="22004"/>
                </a:cubicBezTo>
                <a:lnTo>
                  <a:pt x="1850989" y="0"/>
                </a:ln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0F6C4754-8D6A-24A4-D80A-060FDED0DB33}"/>
              </a:ext>
            </a:extLst>
          </p:cNvPr>
          <p:cNvSpPr/>
          <p:nvPr/>
        </p:nvSpPr>
        <p:spPr>
          <a:xfrm rot="18981066">
            <a:off x="5488543" y="4353751"/>
            <a:ext cx="2874134" cy="1927939"/>
          </a:xfrm>
          <a:custGeom>
            <a:avLst/>
            <a:gdLst>
              <a:gd name="connsiteX0" fmla="*/ 2874134 w 2874134"/>
              <a:gd name="connsiteY0" fmla="*/ 0 h 1927939"/>
              <a:gd name="connsiteX1" fmla="*/ 2855585 w 2874134"/>
              <a:gd name="connsiteY1" fmla="*/ 73719 h 1927939"/>
              <a:gd name="connsiteX2" fmla="*/ 1416131 w 2874134"/>
              <a:gd name="connsiteY2" fmla="*/ 1911393 h 1927939"/>
              <a:gd name="connsiteX3" fmla="*/ 1244980 w 2874134"/>
              <a:gd name="connsiteY3" fmla="*/ 1927939 h 1927939"/>
              <a:gd name="connsiteX4" fmla="*/ 1086059 w 2874134"/>
              <a:gd name="connsiteY4" fmla="*/ 1914182 h 1927939"/>
              <a:gd name="connsiteX5" fmla="*/ 1009471 w 2874134"/>
              <a:gd name="connsiteY5" fmla="*/ 1903254 h 1927939"/>
              <a:gd name="connsiteX6" fmla="*/ 853400 w 2874134"/>
              <a:gd name="connsiteY6" fmla="*/ 1857652 h 1927939"/>
              <a:gd name="connsiteX7" fmla="*/ 48411 w 2874134"/>
              <a:gd name="connsiteY7" fmla="*/ 1119874 h 1927939"/>
              <a:gd name="connsiteX8" fmla="*/ 0 w 2874134"/>
              <a:gd name="connsiteY8" fmla="*/ 1035641 h 1927939"/>
              <a:gd name="connsiteX9" fmla="*/ 26399 w 2874134"/>
              <a:gd name="connsiteY9" fmla="*/ 1022645 h 1927939"/>
              <a:gd name="connsiteX10" fmla="*/ 653863 w 2874134"/>
              <a:gd name="connsiteY10" fmla="*/ 372256 h 1927939"/>
              <a:gd name="connsiteX11" fmla="*/ 719299 w 2874134"/>
              <a:gd name="connsiteY11" fmla="*/ 258399 h 1927939"/>
              <a:gd name="connsiteX12" fmla="*/ 978238 w 2874134"/>
              <a:gd name="connsiteY12" fmla="*/ 266788 h 1927939"/>
              <a:gd name="connsiteX13" fmla="*/ 1340886 w 2874134"/>
              <a:gd name="connsiteY13" fmla="*/ 259247 h 1927939"/>
              <a:gd name="connsiteX14" fmla="*/ 2712913 w 2874134"/>
              <a:gd name="connsiteY14" fmla="*/ 48756 h 1927939"/>
              <a:gd name="connsiteX15" fmla="*/ 2874134 w 2874134"/>
              <a:gd name="connsiteY15" fmla="*/ 0 h 1927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874134" h="1927939">
                <a:moveTo>
                  <a:pt x="2874134" y="0"/>
                </a:moveTo>
                <a:lnTo>
                  <a:pt x="2855585" y="73719"/>
                </a:lnTo>
                <a:cubicBezTo>
                  <a:pt x="2570412" y="1078725"/>
                  <a:pt x="2038865" y="1790318"/>
                  <a:pt x="1416131" y="1911393"/>
                </a:cubicBezTo>
                <a:lnTo>
                  <a:pt x="1244980" y="1927939"/>
                </a:lnTo>
                <a:lnTo>
                  <a:pt x="1086059" y="1914182"/>
                </a:lnTo>
                <a:lnTo>
                  <a:pt x="1009471" y="1903254"/>
                </a:lnTo>
                <a:lnTo>
                  <a:pt x="853400" y="1857652"/>
                </a:lnTo>
                <a:cubicBezTo>
                  <a:pt x="551929" y="1739549"/>
                  <a:pt x="277132" y="1481243"/>
                  <a:pt x="48411" y="1119874"/>
                </a:cubicBezTo>
                <a:lnTo>
                  <a:pt x="0" y="1035641"/>
                </a:lnTo>
                <a:lnTo>
                  <a:pt x="26399" y="1022645"/>
                </a:lnTo>
                <a:cubicBezTo>
                  <a:pt x="258420" y="884486"/>
                  <a:pt x="470885" y="661352"/>
                  <a:pt x="653863" y="372256"/>
                </a:cubicBezTo>
                <a:lnTo>
                  <a:pt x="719299" y="258399"/>
                </a:lnTo>
                <a:lnTo>
                  <a:pt x="978238" y="266788"/>
                </a:lnTo>
                <a:cubicBezTo>
                  <a:pt x="1097623" y="267485"/>
                  <a:pt x="1218608" y="265018"/>
                  <a:pt x="1340886" y="259247"/>
                </a:cubicBezTo>
                <a:cubicBezTo>
                  <a:pt x="1829999" y="236162"/>
                  <a:pt x="2293517" y="162392"/>
                  <a:pt x="2712913" y="48756"/>
                </a:cubicBezTo>
                <a:lnTo>
                  <a:pt x="2874134" y="0"/>
                </a:ln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B52A0830-C1FE-75E0-21C6-1C3B9599EE53}"/>
              </a:ext>
            </a:extLst>
          </p:cNvPr>
          <p:cNvSpPr/>
          <p:nvPr/>
        </p:nvSpPr>
        <p:spPr>
          <a:xfrm rot="18981066">
            <a:off x="4257880" y="5740937"/>
            <a:ext cx="1487495" cy="1438733"/>
          </a:xfrm>
          <a:custGeom>
            <a:avLst/>
            <a:gdLst>
              <a:gd name="connsiteX0" fmla="*/ 1095840 w 1487495"/>
              <a:gd name="connsiteY0" fmla="*/ 363358 h 1438733"/>
              <a:gd name="connsiteX1" fmla="*/ 1178159 w 1487495"/>
              <a:gd name="connsiteY1" fmla="*/ 622770 h 1438733"/>
              <a:gd name="connsiteX2" fmla="*/ 1404357 w 1487495"/>
              <a:gd name="connsiteY2" fmla="*/ 1147630 h 1438733"/>
              <a:gd name="connsiteX3" fmla="*/ 1487495 w 1487495"/>
              <a:gd name="connsiteY3" fmla="*/ 1292289 h 1438733"/>
              <a:gd name="connsiteX4" fmla="*/ 1336367 w 1487495"/>
              <a:gd name="connsiteY4" fmla="*/ 1366683 h 1438733"/>
              <a:gd name="connsiteX5" fmla="*/ 963038 w 1487495"/>
              <a:gd name="connsiteY5" fmla="*/ 1438733 h 1438733"/>
              <a:gd name="connsiteX6" fmla="*/ 412181 w 1487495"/>
              <a:gd name="connsiteY6" fmla="*/ 1279294 h 1438733"/>
              <a:gd name="connsiteX7" fmla="*/ 282910 w 1487495"/>
              <a:gd name="connsiteY7" fmla="*/ 1188713 h 1438733"/>
              <a:gd name="connsiteX8" fmla="*/ 186331 w 1487495"/>
              <a:gd name="connsiteY8" fmla="*/ 1063851 h 1438733"/>
              <a:gd name="connsiteX9" fmla="*/ 1098 w 1487495"/>
              <a:gd name="connsiteY9" fmla="*/ 521123 h 1438733"/>
              <a:gd name="connsiteX10" fmla="*/ 55468 w 1487495"/>
              <a:gd name="connsiteY10" fmla="*/ 144811 h 1438733"/>
              <a:gd name="connsiteX11" fmla="*/ 118455 w 1487495"/>
              <a:gd name="connsiteY11" fmla="*/ 0 h 1438733"/>
              <a:gd name="connsiteX12" fmla="*/ 297895 w 1487495"/>
              <a:gd name="connsiteY12" fmla="*/ 92158 h 1438733"/>
              <a:gd name="connsiteX13" fmla="*/ 832836 w 1487495"/>
              <a:gd name="connsiteY13" fmla="*/ 293361 h 1438733"/>
              <a:gd name="connsiteX14" fmla="*/ 1095840 w 1487495"/>
              <a:gd name="connsiteY14" fmla="*/ 363358 h 1438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487495" h="1438733">
                <a:moveTo>
                  <a:pt x="1095840" y="363358"/>
                </a:moveTo>
                <a:lnTo>
                  <a:pt x="1178159" y="622770"/>
                </a:lnTo>
                <a:cubicBezTo>
                  <a:pt x="1244738" y="811440"/>
                  <a:pt x="1320551" y="987186"/>
                  <a:pt x="1404357" y="1147630"/>
                </a:cubicBezTo>
                <a:lnTo>
                  <a:pt x="1487495" y="1292289"/>
                </a:lnTo>
                <a:lnTo>
                  <a:pt x="1336367" y="1366683"/>
                </a:lnTo>
                <a:cubicBezTo>
                  <a:pt x="1215779" y="1413924"/>
                  <a:pt x="1090921" y="1438734"/>
                  <a:pt x="963038" y="1438733"/>
                </a:cubicBezTo>
                <a:cubicBezTo>
                  <a:pt x="771212" y="1438733"/>
                  <a:pt x="586196" y="1382913"/>
                  <a:pt x="412181" y="1279294"/>
                </a:cubicBezTo>
                <a:lnTo>
                  <a:pt x="282910" y="1188713"/>
                </a:lnTo>
                <a:lnTo>
                  <a:pt x="186331" y="1063851"/>
                </a:lnTo>
                <a:cubicBezTo>
                  <a:pt x="74623" y="894914"/>
                  <a:pt x="10142" y="712735"/>
                  <a:pt x="1098" y="521123"/>
                </a:cubicBezTo>
                <a:cubicBezTo>
                  <a:pt x="-4931" y="393382"/>
                  <a:pt x="13965" y="267493"/>
                  <a:pt x="55468" y="144811"/>
                </a:cubicBezTo>
                <a:lnTo>
                  <a:pt x="118455" y="0"/>
                </a:lnTo>
                <a:lnTo>
                  <a:pt x="297895" y="92158"/>
                </a:lnTo>
                <a:cubicBezTo>
                  <a:pt x="462112" y="168307"/>
                  <a:pt x="641237" y="235751"/>
                  <a:pt x="832836" y="293361"/>
                </a:cubicBezTo>
                <a:lnTo>
                  <a:pt x="1095840" y="363358"/>
                </a:ln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6382C527-49D0-B646-A4B9-875CAD634330}"/>
              </a:ext>
            </a:extLst>
          </p:cNvPr>
          <p:cNvSpPr/>
          <p:nvPr/>
        </p:nvSpPr>
        <p:spPr>
          <a:xfrm rot="18981066">
            <a:off x="2510094" y="390043"/>
            <a:ext cx="2155251" cy="1863690"/>
          </a:xfrm>
          <a:custGeom>
            <a:avLst/>
            <a:gdLst>
              <a:gd name="connsiteX0" fmla="*/ 1407437 w 2155251"/>
              <a:gd name="connsiteY0" fmla="*/ 428033 h 1863690"/>
              <a:gd name="connsiteX1" fmla="*/ 2153312 w 2155251"/>
              <a:gd name="connsiteY1" fmla="*/ 1855984 h 1863690"/>
              <a:gd name="connsiteX2" fmla="*/ 2155251 w 2155251"/>
              <a:gd name="connsiteY2" fmla="*/ 1863690 h 1863690"/>
              <a:gd name="connsiteX3" fmla="*/ 1849702 w 2155251"/>
              <a:gd name="connsiteY3" fmla="*/ 1801960 h 1863690"/>
              <a:gd name="connsiteX4" fmla="*/ 826596 w 2155251"/>
              <a:gd name="connsiteY4" fmla="*/ 1714087 h 1863690"/>
              <a:gd name="connsiteX5" fmla="*/ 537812 w 2155251"/>
              <a:gd name="connsiteY5" fmla="*/ 1720092 h 1863690"/>
              <a:gd name="connsiteX6" fmla="*/ 480130 w 2155251"/>
              <a:gd name="connsiteY6" fmla="*/ 1418373 h 1863690"/>
              <a:gd name="connsiteX7" fmla="*/ 83138 w 2155251"/>
              <a:gd name="connsiteY7" fmla="*/ 291104 h 1863690"/>
              <a:gd name="connsiteX8" fmla="*/ 0 w 2155251"/>
              <a:gd name="connsiteY8" fmla="*/ 146445 h 1863690"/>
              <a:gd name="connsiteX9" fmla="*/ 151128 w 2155251"/>
              <a:gd name="connsiteY9" fmla="*/ 72051 h 1863690"/>
              <a:gd name="connsiteX10" fmla="*/ 524458 w 2155251"/>
              <a:gd name="connsiteY10" fmla="*/ 0 h 1863690"/>
              <a:gd name="connsiteX11" fmla="*/ 1407437 w 2155251"/>
              <a:gd name="connsiteY11" fmla="*/ 428033 h 1863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55251" h="1863690">
                <a:moveTo>
                  <a:pt x="1407437" y="428033"/>
                </a:moveTo>
                <a:cubicBezTo>
                  <a:pt x="1722410" y="755605"/>
                  <a:pt x="1982208" y="1252979"/>
                  <a:pt x="2153312" y="1855984"/>
                </a:cubicBezTo>
                <a:lnTo>
                  <a:pt x="2155251" y="1863690"/>
                </a:lnTo>
                <a:lnTo>
                  <a:pt x="1849702" y="1801960"/>
                </a:lnTo>
                <a:cubicBezTo>
                  <a:pt x="1528525" y="1746737"/>
                  <a:pt x="1184753" y="1716177"/>
                  <a:pt x="826596" y="1714087"/>
                </a:cubicBezTo>
                <a:lnTo>
                  <a:pt x="537812" y="1720092"/>
                </a:lnTo>
                <a:lnTo>
                  <a:pt x="480130" y="1418373"/>
                </a:lnTo>
                <a:cubicBezTo>
                  <a:pt x="386391" y="994086"/>
                  <a:pt x="250750" y="611991"/>
                  <a:pt x="83138" y="291104"/>
                </a:cubicBezTo>
                <a:lnTo>
                  <a:pt x="0" y="146445"/>
                </a:lnTo>
                <a:lnTo>
                  <a:pt x="151128" y="72051"/>
                </a:lnTo>
                <a:cubicBezTo>
                  <a:pt x="271717" y="24810"/>
                  <a:pt x="396574" y="0"/>
                  <a:pt x="524458" y="0"/>
                </a:cubicBezTo>
                <a:cubicBezTo>
                  <a:pt x="844167" y="0"/>
                  <a:pt x="1144960" y="155058"/>
                  <a:pt x="1407437" y="428033"/>
                </a:cubicBez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A78333DD-4E7C-AECE-0A46-3945B68E9916}"/>
              </a:ext>
            </a:extLst>
          </p:cNvPr>
          <p:cNvSpPr/>
          <p:nvPr/>
        </p:nvSpPr>
        <p:spPr>
          <a:xfrm rot="18981066">
            <a:off x="5454314" y="297926"/>
            <a:ext cx="1939598" cy="2062240"/>
          </a:xfrm>
          <a:custGeom>
            <a:avLst/>
            <a:gdLst>
              <a:gd name="connsiteX0" fmla="*/ 1469316 w 1939598"/>
              <a:gd name="connsiteY0" fmla="*/ 679299 h 2062240"/>
              <a:gd name="connsiteX1" fmla="*/ 1938501 w 1939598"/>
              <a:gd name="connsiteY1" fmla="*/ 1541117 h 2062240"/>
              <a:gd name="connsiteX2" fmla="*/ 1884131 w 1939598"/>
              <a:gd name="connsiteY2" fmla="*/ 1917428 h 2062240"/>
              <a:gd name="connsiteX3" fmla="*/ 1821145 w 1939598"/>
              <a:gd name="connsiteY3" fmla="*/ 2062240 h 2062240"/>
              <a:gd name="connsiteX4" fmla="*/ 1641704 w 1939598"/>
              <a:gd name="connsiteY4" fmla="*/ 1970081 h 2062240"/>
              <a:gd name="connsiteX5" fmla="*/ 496973 w 1939598"/>
              <a:gd name="connsiteY5" fmla="*/ 1626676 h 2062240"/>
              <a:gd name="connsiteX6" fmla="*/ 219115 w 1939598"/>
              <a:gd name="connsiteY6" fmla="*/ 1587028 h 2062240"/>
              <a:gd name="connsiteX7" fmla="*/ 212076 w 1939598"/>
              <a:gd name="connsiteY7" fmla="*/ 1320125 h 2062240"/>
              <a:gd name="connsiteX8" fmla="*/ 76067 w 1939598"/>
              <a:gd name="connsiteY8" fmla="*/ 302300 h 2062240"/>
              <a:gd name="connsiteX9" fmla="*/ 0 w 1939598"/>
              <a:gd name="connsiteY9" fmla="*/ 0 h 2062240"/>
              <a:gd name="connsiteX10" fmla="*/ 7789 w 1939598"/>
              <a:gd name="connsiteY10" fmla="*/ 1574 h 2062240"/>
              <a:gd name="connsiteX11" fmla="*/ 1469316 w 1939598"/>
              <a:gd name="connsiteY11" fmla="*/ 679299 h 2062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39598" h="2062240">
                <a:moveTo>
                  <a:pt x="1469316" y="679299"/>
                </a:moveTo>
                <a:cubicBezTo>
                  <a:pt x="1754363" y="928615"/>
                  <a:pt x="1923428" y="1221763"/>
                  <a:pt x="1938501" y="1541117"/>
                </a:cubicBezTo>
                <a:cubicBezTo>
                  <a:pt x="1944530" y="1668858"/>
                  <a:pt x="1925635" y="1794746"/>
                  <a:pt x="1884131" y="1917428"/>
                </a:cubicBezTo>
                <a:lnTo>
                  <a:pt x="1821145" y="2062240"/>
                </a:lnTo>
                <a:lnTo>
                  <a:pt x="1641704" y="1970081"/>
                </a:lnTo>
                <a:cubicBezTo>
                  <a:pt x="1313271" y="1817784"/>
                  <a:pt x="925207" y="1700307"/>
                  <a:pt x="496973" y="1626676"/>
                </a:cubicBezTo>
                <a:lnTo>
                  <a:pt x="219115" y="1587028"/>
                </a:lnTo>
                <a:lnTo>
                  <a:pt x="212076" y="1320125"/>
                </a:lnTo>
                <a:cubicBezTo>
                  <a:pt x="193104" y="962465"/>
                  <a:pt x="146370" y="620516"/>
                  <a:pt x="76067" y="302300"/>
                </a:cubicBezTo>
                <a:lnTo>
                  <a:pt x="0" y="0"/>
                </a:lnTo>
                <a:lnTo>
                  <a:pt x="7789" y="1574"/>
                </a:lnTo>
                <a:cubicBezTo>
                  <a:pt x="618190" y="144059"/>
                  <a:pt x="1127259" y="380120"/>
                  <a:pt x="1469316" y="679299"/>
                </a:cubicBez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220D60D8-B6DD-29B9-0E53-AED6910DEDD2}"/>
              </a:ext>
            </a:extLst>
          </p:cNvPr>
          <p:cNvSpPr/>
          <p:nvPr/>
        </p:nvSpPr>
        <p:spPr>
          <a:xfrm rot="18981066">
            <a:off x="5767232" y="1913470"/>
            <a:ext cx="4354664" cy="3192506"/>
          </a:xfrm>
          <a:custGeom>
            <a:avLst/>
            <a:gdLst>
              <a:gd name="connsiteX0" fmla="*/ 3884382 w 4354664"/>
              <a:gd name="connsiteY0" fmla="*/ 305464 h 3192506"/>
              <a:gd name="connsiteX1" fmla="*/ 4353567 w 4354664"/>
              <a:gd name="connsiteY1" fmla="*/ 1167282 h 3192506"/>
              <a:gd name="connsiteX2" fmla="*/ 898428 w 4354664"/>
              <a:gd name="connsiteY2" fmla="*/ 3184850 h 3192506"/>
              <a:gd name="connsiteX3" fmla="*/ 182722 w 4354664"/>
              <a:gd name="connsiteY3" fmla="*/ 3180953 h 3192506"/>
              <a:gd name="connsiteX4" fmla="*/ 0 w 4354664"/>
              <a:gd name="connsiteY4" fmla="*/ 3165137 h 3192506"/>
              <a:gd name="connsiteX5" fmla="*/ 171151 w 4354664"/>
              <a:gd name="connsiteY5" fmla="*/ 3148591 h 3192506"/>
              <a:gd name="connsiteX6" fmla="*/ 1610605 w 4354664"/>
              <a:gd name="connsiteY6" fmla="*/ 1310917 h 3192506"/>
              <a:gd name="connsiteX7" fmla="*/ 1629154 w 4354664"/>
              <a:gd name="connsiteY7" fmla="*/ 1237198 h 3192506"/>
              <a:gd name="connsiteX8" fmla="*/ 1773918 w 4354664"/>
              <a:gd name="connsiteY8" fmla="*/ 1193420 h 3192506"/>
              <a:gd name="connsiteX9" fmla="*/ 3417753 w 4354664"/>
              <a:gd name="connsiteY9" fmla="*/ 36638 h 3192506"/>
              <a:gd name="connsiteX10" fmla="*/ 3433689 w 4354664"/>
              <a:gd name="connsiteY10" fmla="*/ 0 h 3192506"/>
              <a:gd name="connsiteX11" fmla="*/ 3489088 w 4354664"/>
              <a:gd name="connsiteY11" fmla="*/ 28453 h 3192506"/>
              <a:gd name="connsiteX12" fmla="*/ 3884382 w 4354664"/>
              <a:gd name="connsiteY12" fmla="*/ 305464 h 3192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354664" h="3192506">
                <a:moveTo>
                  <a:pt x="3884382" y="305464"/>
                </a:moveTo>
                <a:cubicBezTo>
                  <a:pt x="4169429" y="554780"/>
                  <a:pt x="4338494" y="847929"/>
                  <a:pt x="4353567" y="1167282"/>
                </a:cubicBezTo>
                <a:cubicBezTo>
                  <a:pt x="4401799" y="2189215"/>
                  <a:pt x="2854881" y="3092511"/>
                  <a:pt x="898428" y="3184850"/>
                </a:cubicBezTo>
                <a:cubicBezTo>
                  <a:pt x="653871" y="3196393"/>
                  <a:pt x="414492" y="3194718"/>
                  <a:pt x="182722" y="3180953"/>
                </a:cubicBezTo>
                <a:lnTo>
                  <a:pt x="0" y="3165137"/>
                </a:lnTo>
                <a:lnTo>
                  <a:pt x="171151" y="3148591"/>
                </a:lnTo>
                <a:cubicBezTo>
                  <a:pt x="793885" y="3027516"/>
                  <a:pt x="1325432" y="2315923"/>
                  <a:pt x="1610605" y="1310917"/>
                </a:cubicBezTo>
                <a:lnTo>
                  <a:pt x="1629154" y="1237198"/>
                </a:lnTo>
                <a:lnTo>
                  <a:pt x="1773918" y="1193420"/>
                </a:lnTo>
                <a:cubicBezTo>
                  <a:pt x="2566273" y="927631"/>
                  <a:pt x="3163619" y="513190"/>
                  <a:pt x="3417753" y="36638"/>
                </a:cubicBezTo>
                <a:lnTo>
                  <a:pt x="3433689" y="0"/>
                </a:lnTo>
                <a:lnTo>
                  <a:pt x="3489088" y="28453"/>
                </a:lnTo>
                <a:cubicBezTo>
                  <a:pt x="3637787" y="113025"/>
                  <a:pt x="3770363" y="205738"/>
                  <a:pt x="3884382" y="305464"/>
                </a:cubicBez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27DBC48D-18BB-A023-AD48-86183095EEDF}"/>
              </a:ext>
            </a:extLst>
          </p:cNvPr>
          <p:cNvSpPr/>
          <p:nvPr/>
        </p:nvSpPr>
        <p:spPr>
          <a:xfrm rot="18981066">
            <a:off x="1356726" y="967417"/>
            <a:ext cx="3079163" cy="6842810"/>
          </a:xfrm>
          <a:custGeom>
            <a:avLst/>
            <a:gdLst>
              <a:gd name="connsiteX0" fmla="*/ 2735412 w 3079163"/>
              <a:gd name="connsiteY0" fmla="*/ 428033 h 6842810"/>
              <a:gd name="connsiteX1" fmla="*/ 3030753 w 3079163"/>
              <a:gd name="connsiteY1" fmla="*/ 809829 h 6842810"/>
              <a:gd name="connsiteX2" fmla="*/ 3079163 w 3079163"/>
              <a:gd name="connsiteY2" fmla="*/ 894062 h 6842810"/>
              <a:gd name="connsiteX3" fmla="*/ 3052764 w 3079163"/>
              <a:gd name="connsiteY3" fmla="*/ 907058 h 6842810"/>
              <a:gd name="connsiteX4" fmla="*/ 1974767 w 3079163"/>
              <a:gd name="connsiteY4" fmla="*/ 2603601 h 6842810"/>
              <a:gd name="connsiteX5" fmla="*/ 1937862 w 3079163"/>
              <a:gd name="connsiteY5" fmla="*/ 2750267 h 6842810"/>
              <a:gd name="connsiteX6" fmla="*/ 1865100 w 3079163"/>
              <a:gd name="connsiteY6" fmla="*/ 2772271 h 6842810"/>
              <a:gd name="connsiteX7" fmla="*/ 87971 w 3079163"/>
              <a:gd name="connsiteY7" fmla="*/ 4486814 h 6842810"/>
              <a:gd name="connsiteX8" fmla="*/ 952451 w 3079163"/>
              <a:gd name="connsiteY8" fmla="*/ 5625644 h 6842810"/>
              <a:gd name="connsiteX9" fmla="*/ 1007850 w 3079163"/>
              <a:gd name="connsiteY9" fmla="*/ 5654097 h 6842810"/>
              <a:gd name="connsiteX10" fmla="*/ 944863 w 3079163"/>
              <a:gd name="connsiteY10" fmla="*/ 5798908 h 6842810"/>
              <a:gd name="connsiteX11" fmla="*/ 890493 w 3079163"/>
              <a:gd name="connsiteY11" fmla="*/ 6175220 h 6842810"/>
              <a:gd name="connsiteX12" fmla="*/ 1075726 w 3079163"/>
              <a:gd name="connsiteY12" fmla="*/ 6717948 h 6842810"/>
              <a:gd name="connsiteX13" fmla="*/ 1172305 w 3079163"/>
              <a:gd name="connsiteY13" fmla="*/ 6842810 h 6842810"/>
              <a:gd name="connsiteX14" fmla="*/ 1131383 w 3079163"/>
              <a:gd name="connsiteY14" fmla="*/ 6814136 h 6842810"/>
              <a:gd name="connsiteX15" fmla="*/ 0 w 3079163"/>
              <a:gd name="connsiteY15" fmla="*/ 3546415 h 6842810"/>
              <a:gd name="connsiteX16" fmla="*/ 1852433 w 3079163"/>
              <a:gd name="connsiteY16" fmla="*/ 0 h 6842810"/>
              <a:gd name="connsiteX17" fmla="*/ 2735412 w 3079163"/>
              <a:gd name="connsiteY17" fmla="*/ 428033 h 6842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079163" h="6842810">
                <a:moveTo>
                  <a:pt x="2735412" y="428033"/>
                </a:moveTo>
                <a:cubicBezTo>
                  <a:pt x="2840403" y="537224"/>
                  <a:pt x="2939264" y="665281"/>
                  <a:pt x="3030753" y="809829"/>
                </a:cubicBezTo>
                <a:lnTo>
                  <a:pt x="3079163" y="894062"/>
                </a:lnTo>
                <a:lnTo>
                  <a:pt x="3052764" y="907058"/>
                </a:lnTo>
                <a:cubicBezTo>
                  <a:pt x="2588723" y="1183375"/>
                  <a:pt x="2202905" y="1799596"/>
                  <a:pt x="1974767" y="2603601"/>
                </a:cubicBezTo>
                <a:lnTo>
                  <a:pt x="1937862" y="2750267"/>
                </a:lnTo>
                <a:lnTo>
                  <a:pt x="1865100" y="2772271"/>
                </a:lnTo>
                <a:cubicBezTo>
                  <a:pt x="775610" y="3137731"/>
                  <a:pt x="54812" y="3784235"/>
                  <a:pt x="87971" y="4486814"/>
                </a:cubicBezTo>
                <a:cubicBezTo>
                  <a:pt x="109073" y="4933910"/>
                  <a:pt x="432000" y="5329642"/>
                  <a:pt x="952451" y="5625644"/>
                </a:cubicBezTo>
                <a:lnTo>
                  <a:pt x="1007850" y="5654097"/>
                </a:lnTo>
                <a:lnTo>
                  <a:pt x="944863" y="5798908"/>
                </a:lnTo>
                <a:cubicBezTo>
                  <a:pt x="903360" y="5921590"/>
                  <a:pt x="884464" y="6047479"/>
                  <a:pt x="890493" y="6175220"/>
                </a:cubicBezTo>
                <a:cubicBezTo>
                  <a:pt x="899537" y="6366832"/>
                  <a:pt x="964018" y="6549011"/>
                  <a:pt x="1075726" y="6717948"/>
                </a:cubicBezTo>
                <a:lnTo>
                  <a:pt x="1172305" y="6842810"/>
                </a:lnTo>
                <a:lnTo>
                  <a:pt x="1131383" y="6814136"/>
                </a:lnTo>
                <a:cubicBezTo>
                  <a:pt x="466516" y="6275760"/>
                  <a:pt x="-1" y="5015389"/>
                  <a:pt x="0" y="3546415"/>
                </a:cubicBezTo>
                <a:cubicBezTo>
                  <a:pt x="0" y="1587784"/>
                  <a:pt x="829363" y="0"/>
                  <a:pt x="1852433" y="0"/>
                </a:cubicBezTo>
                <a:cubicBezTo>
                  <a:pt x="2172142" y="0"/>
                  <a:pt x="2472935" y="155057"/>
                  <a:pt x="2735412" y="428033"/>
                </a:cubicBez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F3940BD8-1B66-FD12-AE5A-56BD00D93AE0}"/>
              </a:ext>
            </a:extLst>
          </p:cNvPr>
          <p:cNvSpPr/>
          <p:nvPr/>
        </p:nvSpPr>
        <p:spPr>
          <a:xfrm rot="18981066">
            <a:off x="4899170" y="2746917"/>
            <a:ext cx="2359865" cy="2027653"/>
          </a:xfrm>
          <a:custGeom>
            <a:avLst/>
            <a:gdLst>
              <a:gd name="connsiteX0" fmla="*/ 2357340 w 2359865"/>
              <a:gd name="connsiteY0" fmla="*/ 48341 h 2027653"/>
              <a:gd name="connsiteX1" fmla="*/ 2359865 w 2359865"/>
              <a:gd name="connsiteY1" fmla="*/ 144038 h 2027653"/>
              <a:gd name="connsiteX2" fmla="*/ 2214291 w 2359865"/>
              <a:gd name="connsiteY2" fmla="*/ 1524463 h 2027653"/>
              <a:gd name="connsiteX3" fmla="*/ 2154835 w 2359865"/>
              <a:gd name="connsiteY3" fmla="*/ 1760751 h 2027653"/>
              <a:gd name="connsiteX4" fmla="*/ 1993614 w 2359865"/>
              <a:gd name="connsiteY4" fmla="*/ 1809507 h 2027653"/>
              <a:gd name="connsiteX5" fmla="*/ 621587 w 2359865"/>
              <a:gd name="connsiteY5" fmla="*/ 2019998 h 2027653"/>
              <a:gd name="connsiteX6" fmla="*/ 258939 w 2359865"/>
              <a:gd name="connsiteY6" fmla="*/ 2027539 h 2027653"/>
              <a:gd name="connsiteX7" fmla="*/ 0 w 2359865"/>
              <a:gd name="connsiteY7" fmla="*/ 2019150 h 2027653"/>
              <a:gd name="connsiteX8" fmla="*/ 66112 w 2359865"/>
              <a:gd name="connsiteY8" fmla="*/ 1904115 h 2027653"/>
              <a:gd name="connsiteX9" fmla="*/ 571042 w 2359865"/>
              <a:gd name="connsiteY9" fmla="*/ 111147 h 2027653"/>
              <a:gd name="connsiteX10" fmla="*/ 573982 w 2359865"/>
              <a:gd name="connsiteY10" fmla="*/ 74271 h 2027653"/>
              <a:gd name="connsiteX11" fmla="*/ 887698 w 2359865"/>
              <a:gd name="connsiteY11" fmla="*/ 34305 h 2027653"/>
              <a:gd name="connsiteX12" fmla="*/ 1249444 w 2359865"/>
              <a:gd name="connsiteY12" fmla="*/ 7657 h 2027653"/>
              <a:gd name="connsiteX13" fmla="*/ 2306793 w 2359865"/>
              <a:gd name="connsiteY13" fmla="*/ 41128 h 2027653"/>
              <a:gd name="connsiteX14" fmla="*/ 2357340 w 2359865"/>
              <a:gd name="connsiteY14" fmla="*/ 48341 h 2027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359865" h="2027653">
                <a:moveTo>
                  <a:pt x="2357340" y="48341"/>
                </a:moveTo>
                <a:lnTo>
                  <a:pt x="2359865" y="144038"/>
                </a:lnTo>
                <a:cubicBezTo>
                  <a:pt x="2359865" y="633696"/>
                  <a:pt x="2308029" y="1100175"/>
                  <a:pt x="2214291" y="1524463"/>
                </a:cubicBezTo>
                <a:lnTo>
                  <a:pt x="2154835" y="1760751"/>
                </a:lnTo>
                <a:lnTo>
                  <a:pt x="1993614" y="1809507"/>
                </a:lnTo>
                <a:cubicBezTo>
                  <a:pt x="1574218" y="1923143"/>
                  <a:pt x="1110700" y="1996913"/>
                  <a:pt x="621587" y="2019998"/>
                </a:cubicBezTo>
                <a:cubicBezTo>
                  <a:pt x="499309" y="2025769"/>
                  <a:pt x="378324" y="2028236"/>
                  <a:pt x="258939" y="2027539"/>
                </a:cubicBezTo>
                <a:lnTo>
                  <a:pt x="0" y="2019150"/>
                </a:lnTo>
                <a:lnTo>
                  <a:pt x="66112" y="1904115"/>
                </a:lnTo>
                <a:cubicBezTo>
                  <a:pt x="317530" y="1422784"/>
                  <a:pt x="497014" y="803737"/>
                  <a:pt x="571042" y="111147"/>
                </a:cubicBezTo>
                <a:lnTo>
                  <a:pt x="573982" y="74271"/>
                </a:lnTo>
                <a:lnTo>
                  <a:pt x="887698" y="34305"/>
                </a:lnTo>
                <a:cubicBezTo>
                  <a:pt x="1006487" y="22367"/>
                  <a:pt x="1127166" y="13428"/>
                  <a:pt x="1249444" y="7657"/>
                </a:cubicBezTo>
                <a:cubicBezTo>
                  <a:pt x="1616279" y="-9657"/>
                  <a:pt x="1971465" y="2770"/>
                  <a:pt x="2306793" y="41128"/>
                </a:cubicBezTo>
                <a:lnTo>
                  <a:pt x="2357340" y="48341"/>
                </a:ln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0D084DE5-09D9-C2BE-9DD3-150AE9D6C9CA}"/>
              </a:ext>
            </a:extLst>
          </p:cNvPr>
          <p:cNvSpPr/>
          <p:nvPr/>
        </p:nvSpPr>
        <p:spPr>
          <a:xfrm rot="18981066">
            <a:off x="2951664" y="2545833"/>
            <a:ext cx="1953678" cy="2406516"/>
          </a:xfrm>
          <a:custGeom>
            <a:avLst/>
            <a:gdLst>
              <a:gd name="connsiteX0" fmla="*/ 1865787 w 1953678"/>
              <a:gd name="connsiteY0" fmla="*/ 0 h 2406516"/>
              <a:gd name="connsiteX1" fmla="*/ 1870397 w 1953678"/>
              <a:gd name="connsiteY1" fmla="*/ 24111 h 2406516"/>
              <a:gd name="connsiteX2" fmla="*/ 1953678 w 1953678"/>
              <a:gd name="connsiteY2" fmla="*/ 1078706 h 2406516"/>
              <a:gd name="connsiteX3" fmla="*/ 1944114 w 1953678"/>
              <a:gd name="connsiteY3" fmla="*/ 1441306 h 2406516"/>
              <a:gd name="connsiteX4" fmla="*/ 1918983 w 1953678"/>
              <a:gd name="connsiteY4" fmla="*/ 1756556 h 2406516"/>
              <a:gd name="connsiteX5" fmla="*/ 1882287 w 1953678"/>
              <a:gd name="connsiteY5" fmla="*/ 1761231 h 2406516"/>
              <a:gd name="connsiteX6" fmla="*/ 115118 w 1953678"/>
              <a:gd name="connsiteY6" fmla="*/ 2350129 h 2406516"/>
              <a:gd name="connsiteX7" fmla="*/ 26910 w 1953678"/>
              <a:gd name="connsiteY7" fmla="*/ 2406516 h 2406516"/>
              <a:gd name="connsiteX8" fmla="*/ 9564 w 1953678"/>
              <a:gd name="connsiteY8" fmla="*/ 2188924 h 2406516"/>
              <a:gd name="connsiteX9" fmla="*/ 0 w 1953678"/>
              <a:gd name="connsiteY9" fmla="*/ 1826323 h 2406516"/>
              <a:gd name="connsiteX10" fmla="*/ 145573 w 1953678"/>
              <a:gd name="connsiteY10" fmla="*/ 445899 h 2406516"/>
              <a:gd name="connsiteX11" fmla="*/ 186674 w 1953678"/>
              <a:gd name="connsiteY11" fmla="*/ 282558 h 2406516"/>
              <a:gd name="connsiteX12" fmla="*/ 419896 w 1953678"/>
              <a:gd name="connsiteY12" fmla="*/ 212028 h 2406516"/>
              <a:gd name="connsiteX13" fmla="*/ 1791923 w 1953678"/>
              <a:gd name="connsiteY13" fmla="*/ 1536 h 2406516"/>
              <a:gd name="connsiteX14" fmla="*/ 1865787 w 1953678"/>
              <a:gd name="connsiteY14" fmla="*/ 0 h 2406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53678" h="2406516">
                <a:moveTo>
                  <a:pt x="1865787" y="0"/>
                </a:moveTo>
                <a:lnTo>
                  <a:pt x="1870397" y="24111"/>
                </a:lnTo>
                <a:cubicBezTo>
                  <a:pt x="1924521" y="357257"/>
                  <a:pt x="1953678" y="711463"/>
                  <a:pt x="1953678" y="1078706"/>
                </a:cubicBezTo>
                <a:cubicBezTo>
                  <a:pt x="1953678" y="1201120"/>
                  <a:pt x="1950439" y="1322086"/>
                  <a:pt x="1944114" y="1441306"/>
                </a:cubicBezTo>
                <a:lnTo>
                  <a:pt x="1918983" y="1756556"/>
                </a:lnTo>
                <a:lnTo>
                  <a:pt x="1882287" y="1761231"/>
                </a:lnTo>
                <a:cubicBezTo>
                  <a:pt x="1193958" y="1867829"/>
                  <a:pt x="584061" y="2076298"/>
                  <a:pt x="115118" y="2350129"/>
                </a:cubicBezTo>
                <a:lnTo>
                  <a:pt x="26910" y="2406516"/>
                </a:lnTo>
                <a:lnTo>
                  <a:pt x="9564" y="2188924"/>
                </a:lnTo>
                <a:cubicBezTo>
                  <a:pt x="3239" y="2069704"/>
                  <a:pt x="0" y="1948738"/>
                  <a:pt x="0" y="1826323"/>
                </a:cubicBezTo>
                <a:cubicBezTo>
                  <a:pt x="0" y="1336666"/>
                  <a:pt x="51835" y="870186"/>
                  <a:pt x="145573" y="445899"/>
                </a:cubicBezTo>
                <a:lnTo>
                  <a:pt x="186674" y="282558"/>
                </a:lnTo>
                <a:lnTo>
                  <a:pt x="419896" y="212028"/>
                </a:lnTo>
                <a:cubicBezTo>
                  <a:pt x="839292" y="98391"/>
                  <a:pt x="1302810" y="24621"/>
                  <a:pt x="1791923" y="1536"/>
                </a:cubicBezTo>
                <a:lnTo>
                  <a:pt x="1865787" y="0"/>
                </a:ln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D0EB9271-445B-3702-835B-BBC8F786C60F}"/>
              </a:ext>
            </a:extLst>
          </p:cNvPr>
          <p:cNvSpPr/>
          <p:nvPr/>
        </p:nvSpPr>
        <p:spPr>
          <a:xfrm rot="18981066">
            <a:off x="3773813" y="5311761"/>
            <a:ext cx="977385" cy="1143230"/>
          </a:xfrm>
          <a:custGeom>
            <a:avLst/>
            <a:gdLst>
              <a:gd name="connsiteX0" fmla="*/ 770248 w 977385"/>
              <a:gd name="connsiteY0" fmla="*/ 0 h 1143230"/>
              <a:gd name="connsiteX1" fmla="*/ 780973 w 977385"/>
              <a:gd name="connsiteY1" fmla="*/ 134534 h 1143230"/>
              <a:gd name="connsiteX2" fmla="*/ 966916 w 977385"/>
              <a:gd name="connsiteY2" fmla="*/ 1110240 h 1143230"/>
              <a:gd name="connsiteX3" fmla="*/ 977385 w 977385"/>
              <a:gd name="connsiteY3" fmla="*/ 1143230 h 1143230"/>
              <a:gd name="connsiteX4" fmla="*/ 714381 w 977385"/>
              <a:gd name="connsiteY4" fmla="*/ 1073233 h 1143230"/>
              <a:gd name="connsiteX5" fmla="*/ 179440 w 977385"/>
              <a:gd name="connsiteY5" fmla="*/ 872030 h 1143230"/>
              <a:gd name="connsiteX6" fmla="*/ 0 w 977385"/>
              <a:gd name="connsiteY6" fmla="*/ 779872 h 1143230"/>
              <a:gd name="connsiteX7" fmla="*/ 15936 w 977385"/>
              <a:gd name="connsiteY7" fmla="*/ 743234 h 1143230"/>
              <a:gd name="connsiteX8" fmla="*/ 636020 w 977385"/>
              <a:gd name="connsiteY8" fmla="*/ 85806 h 1143230"/>
              <a:gd name="connsiteX9" fmla="*/ 770248 w 977385"/>
              <a:gd name="connsiteY9" fmla="*/ 0 h 1143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77385" h="1143230">
                <a:moveTo>
                  <a:pt x="770248" y="0"/>
                </a:moveTo>
                <a:lnTo>
                  <a:pt x="780973" y="134534"/>
                </a:lnTo>
                <a:cubicBezTo>
                  <a:pt x="817987" y="480828"/>
                  <a:pt x="881365" y="808738"/>
                  <a:pt x="966916" y="1110240"/>
                </a:cubicBezTo>
                <a:lnTo>
                  <a:pt x="977385" y="1143230"/>
                </a:lnTo>
                <a:lnTo>
                  <a:pt x="714381" y="1073233"/>
                </a:lnTo>
                <a:cubicBezTo>
                  <a:pt x="522782" y="1015623"/>
                  <a:pt x="343657" y="948179"/>
                  <a:pt x="179440" y="872030"/>
                </a:cubicBezTo>
                <a:lnTo>
                  <a:pt x="0" y="779872"/>
                </a:lnTo>
                <a:lnTo>
                  <a:pt x="15936" y="743234"/>
                </a:lnTo>
                <a:cubicBezTo>
                  <a:pt x="143003" y="504958"/>
                  <a:pt x="355873" y="282209"/>
                  <a:pt x="636020" y="85806"/>
                </a:cubicBezTo>
                <a:lnTo>
                  <a:pt x="770248" y="0"/>
                </a:ln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6650A099-0978-4B8D-6111-E8DB1399D79E}"/>
              </a:ext>
            </a:extLst>
          </p:cNvPr>
          <p:cNvSpPr/>
          <p:nvPr/>
        </p:nvSpPr>
        <p:spPr>
          <a:xfrm rot="18981066">
            <a:off x="5177714" y="5447877"/>
            <a:ext cx="1110954" cy="928931"/>
          </a:xfrm>
          <a:custGeom>
            <a:avLst/>
            <a:gdLst>
              <a:gd name="connsiteX0" fmla="*/ 1110954 w 1110954"/>
              <a:gd name="connsiteY0" fmla="*/ 151689 h 928931"/>
              <a:gd name="connsiteX1" fmla="*/ 1045518 w 1110954"/>
              <a:gd name="connsiteY1" fmla="*/ 265546 h 928931"/>
              <a:gd name="connsiteX2" fmla="*/ 418054 w 1110954"/>
              <a:gd name="connsiteY2" fmla="*/ 915935 h 928931"/>
              <a:gd name="connsiteX3" fmla="*/ 391655 w 1110954"/>
              <a:gd name="connsiteY3" fmla="*/ 928931 h 928931"/>
              <a:gd name="connsiteX4" fmla="*/ 308517 w 1110954"/>
              <a:gd name="connsiteY4" fmla="*/ 784272 h 928931"/>
              <a:gd name="connsiteX5" fmla="*/ 82319 w 1110954"/>
              <a:gd name="connsiteY5" fmla="*/ 259412 h 928931"/>
              <a:gd name="connsiteX6" fmla="*/ 0 w 1110954"/>
              <a:gd name="connsiteY6" fmla="*/ 0 h 928931"/>
              <a:gd name="connsiteX7" fmla="*/ 33448 w 1110954"/>
              <a:gd name="connsiteY7" fmla="*/ 8902 h 928931"/>
              <a:gd name="connsiteX8" fmla="*/ 1016835 w 1110954"/>
              <a:gd name="connsiteY8" fmla="*/ 148639 h 928931"/>
              <a:gd name="connsiteX9" fmla="*/ 1110954 w 1110954"/>
              <a:gd name="connsiteY9" fmla="*/ 151689 h 92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10954" h="928931">
                <a:moveTo>
                  <a:pt x="1110954" y="151689"/>
                </a:moveTo>
                <a:lnTo>
                  <a:pt x="1045518" y="265546"/>
                </a:lnTo>
                <a:cubicBezTo>
                  <a:pt x="862540" y="554642"/>
                  <a:pt x="650075" y="777776"/>
                  <a:pt x="418054" y="915935"/>
                </a:cubicBezTo>
                <a:lnTo>
                  <a:pt x="391655" y="928931"/>
                </a:lnTo>
                <a:lnTo>
                  <a:pt x="308517" y="784272"/>
                </a:lnTo>
                <a:cubicBezTo>
                  <a:pt x="224711" y="623828"/>
                  <a:pt x="148898" y="448082"/>
                  <a:pt x="82319" y="259412"/>
                </a:cubicBezTo>
                <a:lnTo>
                  <a:pt x="0" y="0"/>
                </a:lnTo>
                <a:lnTo>
                  <a:pt x="33448" y="8902"/>
                </a:lnTo>
                <a:cubicBezTo>
                  <a:pt x="338647" y="80145"/>
                  <a:pt x="669180" y="127993"/>
                  <a:pt x="1016835" y="148639"/>
                </a:cubicBezTo>
                <a:lnTo>
                  <a:pt x="1110954" y="151689"/>
                </a:ln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8172CCE4-6B38-6EA1-7B0B-1FD4409AE423}"/>
              </a:ext>
            </a:extLst>
          </p:cNvPr>
          <p:cNvSpPr/>
          <p:nvPr/>
        </p:nvSpPr>
        <p:spPr>
          <a:xfrm rot="18981066">
            <a:off x="7241117" y="6207579"/>
            <a:ext cx="235509" cy="26449"/>
          </a:xfrm>
          <a:custGeom>
            <a:avLst/>
            <a:gdLst>
              <a:gd name="connsiteX0" fmla="*/ 235509 w 235509"/>
              <a:gd name="connsiteY0" fmla="*/ 24685 h 26449"/>
              <a:gd name="connsiteX1" fmla="*/ 217259 w 235509"/>
              <a:gd name="connsiteY1" fmla="*/ 26449 h 26449"/>
              <a:gd name="connsiteX2" fmla="*/ 27859 w 235509"/>
              <a:gd name="connsiteY2" fmla="*/ 8139 h 26449"/>
              <a:gd name="connsiteX3" fmla="*/ 0 w 235509"/>
              <a:gd name="connsiteY3" fmla="*/ 0 h 26449"/>
              <a:gd name="connsiteX4" fmla="*/ 76588 w 235509"/>
              <a:gd name="connsiteY4" fmla="*/ 10928 h 26449"/>
              <a:gd name="connsiteX5" fmla="*/ 235509 w 235509"/>
              <a:gd name="connsiteY5" fmla="*/ 24685 h 26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5509" h="26449">
                <a:moveTo>
                  <a:pt x="235509" y="24685"/>
                </a:moveTo>
                <a:lnTo>
                  <a:pt x="217259" y="26449"/>
                </a:lnTo>
                <a:cubicBezTo>
                  <a:pt x="153318" y="26449"/>
                  <a:pt x="90132" y="20246"/>
                  <a:pt x="27859" y="8139"/>
                </a:cubicBezTo>
                <a:lnTo>
                  <a:pt x="0" y="0"/>
                </a:lnTo>
                <a:lnTo>
                  <a:pt x="76588" y="10928"/>
                </a:lnTo>
                <a:lnTo>
                  <a:pt x="235509" y="24685"/>
                </a:ln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3A159077-804D-B274-43A1-732C0476267C}"/>
              </a:ext>
            </a:extLst>
          </p:cNvPr>
          <p:cNvSpPr/>
          <p:nvPr/>
        </p:nvSpPr>
        <p:spPr>
          <a:xfrm rot="18981066">
            <a:off x="5021308" y="6219663"/>
            <a:ext cx="2214056" cy="971189"/>
          </a:xfrm>
          <a:custGeom>
            <a:avLst/>
            <a:gdLst>
              <a:gd name="connsiteX0" fmla="*/ 2214056 w 2214056"/>
              <a:gd name="connsiteY0" fmla="*/ 971189 h 971189"/>
              <a:gd name="connsiteX1" fmla="*/ 1962240 w 2214056"/>
              <a:gd name="connsiteY1" fmla="*/ 935256 h 971189"/>
              <a:gd name="connsiteX2" fmla="*/ 30567 w 2214056"/>
              <a:gd name="connsiteY2" fmla="*/ 39519 h 971189"/>
              <a:gd name="connsiteX3" fmla="*/ 0 w 2214056"/>
              <a:gd name="connsiteY3" fmla="*/ 0 h 971189"/>
              <a:gd name="connsiteX4" fmla="*/ 129271 w 2214056"/>
              <a:gd name="connsiteY4" fmla="*/ 90581 h 971189"/>
              <a:gd name="connsiteX5" fmla="*/ 680128 w 2214056"/>
              <a:gd name="connsiteY5" fmla="*/ 250020 h 971189"/>
              <a:gd name="connsiteX6" fmla="*/ 1053457 w 2214056"/>
              <a:gd name="connsiteY6" fmla="*/ 177970 h 971189"/>
              <a:gd name="connsiteX7" fmla="*/ 1204585 w 2214056"/>
              <a:gd name="connsiteY7" fmla="*/ 103576 h 971189"/>
              <a:gd name="connsiteX8" fmla="*/ 1252996 w 2214056"/>
              <a:gd name="connsiteY8" fmla="*/ 187809 h 971189"/>
              <a:gd name="connsiteX9" fmla="*/ 2057985 w 2214056"/>
              <a:gd name="connsiteY9" fmla="*/ 925587 h 971189"/>
              <a:gd name="connsiteX10" fmla="*/ 2214056 w 2214056"/>
              <a:gd name="connsiteY10" fmla="*/ 971189 h 971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14056" h="971189">
                <a:moveTo>
                  <a:pt x="2214056" y="971189"/>
                </a:moveTo>
                <a:lnTo>
                  <a:pt x="1962240" y="935256"/>
                </a:lnTo>
                <a:cubicBezTo>
                  <a:pt x="1105770" y="787994"/>
                  <a:pt x="409981" y="465350"/>
                  <a:pt x="30567" y="39519"/>
                </a:cubicBezTo>
                <a:lnTo>
                  <a:pt x="0" y="0"/>
                </a:lnTo>
                <a:lnTo>
                  <a:pt x="129271" y="90581"/>
                </a:lnTo>
                <a:cubicBezTo>
                  <a:pt x="303286" y="194200"/>
                  <a:pt x="488302" y="250020"/>
                  <a:pt x="680128" y="250020"/>
                </a:cubicBezTo>
                <a:cubicBezTo>
                  <a:pt x="808011" y="250021"/>
                  <a:pt x="932869" y="225211"/>
                  <a:pt x="1053457" y="177970"/>
                </a:cubicBezTo>
                <a:lnTo>
                  <a:pt x="1204585" y="103576"/>
                </a:lnTo>
                <a:lnTo>
                  <a:pt x="1252996" y="187809"/>
                </a:lnTo>
                <a:cubicBezTo>
                  <a:pt x="1481717" y="549178"/>
                  <a:pt x="1756514" y="807484"/>
                  <a:pt x="2057985" y="925587"/>
                </a:cubicBezTo>
                <a:lnTo>
                  <a:pt x="2214056" y="971189"/>
                </a:lnTo>
                <a:close/>
              </a:path>
            </a:pathLst>
          </a:cu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10C6F13-75CE-F843-DC3D-D514E4FC3A49}"/>
              </a:ext>
            </a:extLst>
          </p:cNvPr>
          <p:cNvSpPr txBox="1"/>
          <p:nvPr/>
        </p:nvSpPr>
        <p:spPr>
          <a:xfrm>
            <a:off x="999460" y="2348228"/>
            <a:ext cx="9227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FA6AC0-5BD6-E242-E824-B0CFDA72266F}"/>
              </a:ext>
            </a:extLst>
          </p:cNvPr>
          <p:cNvSpPr txBox="1"/>
          <p:nvPr/>
        </p:nvSpPr>
        <p:spPr>
          <a:xfrm>
            <a:off x="2716425" y="4951541"/>
            <a:ext cx="9227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7DBE04E-F8D0-F8A2-9A74-7E668B2B4056}"/>
              </a:ext>
            </a:extLst>
          </p:cNvPr>
          <p:cNvSpPr txBox="1"/>
          <p:nvPr/>
        </p:nvSpPr>
        <p:spPr>
          <a:xfrm>
            <a:off x="4545209" y="6080089"/>
            <a:ext cx="9227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8BD7986-9B82-CD70-8976-9B35DB1FF10B}"/>
              </a:ext>
            </a:extLst>
          </p:cNvPr>
          <p:cNvSpPr txBox="1"/>
          <p:nvPr/>
        </p:nvSpPr>
        <p:spPr>
          <a:xfrm>
            <a:off x="6429049" y="4951541"/>
            <a:ext cx="9227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80C0EF7-8EE9-B8DC-ADC4-B0419EB03DD5}"/>
              </a:ext>
            </a:extLst>
          </p:cNvPr>
          <p:cNvSpPr txBox="1"/>
          <p:nvPr/>
        </p:nvSpPr>
        <p:spPr>
          <a:xfrm>
            <a:off x="8169440" y="2348228"/>
            <a:ext cx="9227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553E5CD-DB95-BE21-A033-01FE68DA3B14}"/>
              </a:ext>
            </a:extLst>
          </p:cNvPr>
          <p:cNvSpPr txBox="1"/>
          <p:nvPr/>
        </p:nvSpPr>
        <p:spPr>
          <a:xfrm>
            <a:off x="6024523" y="821214"/>
            <a:ext cx="9227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505028B-387A-6785-79B8-F3F855927D76}"/>
              </a:ext>
            </a:extLst>
          </p:cNvPr>
          <p:cNvSpPr txBox="1"/>
          <p:nvPr/>
        </p:nvSpPr>
        <p:spPr>
          <a:xfrm>
            <a:off x="3100768" y="821214"/>
            <a:ext cx="9227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805E9E9-F52D-CB88-D124-481CBE4947D9}"/>
              </a:ext>
            </a:extLst>
          </p:cNvPr>
          <p:cNvSpPr txBox="1"/>
          <p:nvPr/>
        </p:nvSpPr>
        <p:spPr>
          <a:xfrm>
            <a:off x="2354075" y="1749098"/>
            <a:ext cx="9227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AB6CEE2-5AAB-D58F-5FFC-7F71DBA53B96}"/>
              </a:ext>
            </a:extLst>
          </p:cNvPr>
          <p:cNvSpPr txBox="1"/>
          <p:nvPr/>
        </p:nvSpPr>
        <p:spPr>
          <a:xfrm>
            <a:off x="4545209" y="1749098"/>
            <a:ext cx="9227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E1B26B5-1559-1A64-7194-4597A65FE64D}"/>
              </a:ext>
            </a:extLst>
          </p:cNvPr>
          <p:cNvSpPr txBox="1"/>
          <p:nvPr/>
        </p:nvSpPr>
        <p:spPr>
          <a:xfrm>
            <a:off x="6766271" y="1749098"/>
            <a:ext cx="9227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AC3C314-65CD-4465-D7B0-71024A8FB6DA}"/>
              </a:ext>
            </a:extLst>
          </p:cNvPr>
          <p:cNvSpPr txBox="1"/>
          <p:nvPr/>
        </p:nvSpPr>
        <p:spPr>
          <a:xfrm>
            <a:off x="5707919" y="3092776"/>
            <a:ext cx="9227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3D71E41-2FC6-ADFC-F79E-0FD35557B228}"/>
              </a:ext>
            </a:extLst>
          </p:cNvPr>
          <p:cNvSpPr txBox="1"/>
          <p:nvPr/>
        </p:nvSpPr>
        <p:spPr>
          <a:xfrm>
            <a:off x="3290697" y="3092776"/>
            <a:ext cx="9227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9C4BCBB-9168-E839-8871-80693375F711}"/>
              </a:ext>
            </a:extLst>
          </p:cNvPr>
          <p:cNvSpPr txBox="1"/>
          <p:nvPr/>
        </p:nvSpPr>
        <p:spPr>
          <a:xfrm>
            <a:off x="4545209" y="4406142"/>
            <a:ext cx="9227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ED94516-2FDE-7F57-EBAC-EF6999D51D76}"/>
              </a:ext>
            </a:extLst>
          </p:cNvPr>
          <p:cNvSpPr txBox="1"/>
          <p:nvPr/>
        </p:nvSpPr>
        <p:spPr>
          <a:xfrm>
            <a:off x="3798529" y="5535310"/>
            <a:ext cx="92275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>
                <a:latin typeface="Lato" panose="020F0502020204030203" pitchFamily="34" charset="77"/>
              </a:rPr>
              <a:t>X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4D400C6-2E64-7215-31E3-9EFDF5046C91}"/>
              </a:ext>
            </a:extLst>
          </p:cNvPr>
          <p:cNvSpPr txBox="1"/>
          <p:nvPr/>
        </p:nvSpPr>
        <p:spPr>
          <a:xfrm>
            <a:off x="5186137" y="5535310"/>
            <a:ext cx="92275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>
                <a:latin typeface="Lato" panose="020F0502020204030203" pitchFamily="34" charset="77"/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327012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Urban Institut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596D2"/>
      </a:accent1>
      <a:accent2>
        <a:srgbClr val="D1D2D1"/>
      </a:accent2>
      <a:accent3>
        <a:srgbClr val="010000"/>
      </a:accent3>
      <a:accent4>
        <a:srgbClr val="FDBF11"/>
      </a:accent4>
      <a:accent5>
        <a:srgbClr val="EC008B"/>
      </a:accent5>
      <a:accent6>
        <a:srgbClr val="55B6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26</TotalTime>
  <Words>25</Words>
  <Application>Microsoft Macintosh PowerPoint</Application>
  <PresentationFormat>Custom</PresentationFormat>
  <Paragraphs>25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Calibri Light</vt:lpstr>
      <vt:lpstr>Lato</vt:lpstr>
      <vt:lpstr>Office Theme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hwabish, Jonathan</dc:creator>
  <cp:lastModifiedBy>Schwabish, Jonathan</cp:lastModifiedBy>
  <cp:revision>9</cp:revision>
  <cp:lastPrinted>2023-11-01T13:16:25Z</cp:lastPrinted>
  <dcterms:created xsi:type="dcterms:W3CDTF">2023-10-20T17:07:17Z</dcterms:created>
  <dcterms:modified xsi:type="dcterms:W3CDTF">2023-11-01T13:17:31Z</dcterms:modified>
</cp:coreProperties>
</file>